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8" r:id="rId5"/>
    <p:sldMasterId id="2147483701" r:id="rId6"/>
  </p:sldMasterIdLst>
  <p:notesMasterIdLst>
    <p:notesMasterId r:id="rId34"/>
  </p:notesMasterIdLst>
  <p:sldIdLst>
    <p:sldId id="2134803689" r:id="rId7"/>
    <p:sldId id="291" r:id="rId8"/>
    <p:sldId id="2134804439" r:id="rId9"/>
    <p:sldId id="2134804429" r:id="rId10"/>
    <p:sldId id="2134804430" r:id="rId11"/>
    <p:sldId id="2134804100" r:id="rId12"/>
    <p:sldId id="264" r:id="rId13"/>
    <p:sldId id="2134804198" r:id="rId14"/>
    <p:sldId id="2134803904" r:id="rId15"/>
    <p:sldId id="288" r:id="rId16"/>
    <p:sldId id="2134803693" r:id="rId17"/>
    <p:sldId id="2134803697" r:id="rId18"/>
    <p:sldId id="2134804416" r:id="rId19"/>
    <p:sldId id="2134804415" r:id="rId20"/>
    <p:sldId id="2134804414" r:id="rId21"/>
    <p:sldId id="2134803694" r:id="rId22"/>
    <p:sldId id="2134804385" r:id="rId23"/>
    <p:sldId id="2134804436" r:id="rId24"/>
    <p:sldId id="2134804435" r:id="rId25"/>
    <p:sldId id="2134803695" r:id="rId26"/>
    <p:sldId id="2134804292" r:id="rId27"/>
    <p:sldId id="2134804433" r:id="rId28"/>
    <p:sldId id="2134803696" r:id="rId29"/>
    <p:sldId id="2134804293" r:id="rId30"/>
    <p:sldId id="2134804434" r:id="rId31"/>
    <p:sldId id="2134804440" r:id="rId32"/>
    <p:sldId id="2134804438" r:id="rId33"/>
  </p:sldIdLst>
  <p:sldSz cx="12192000" cy="6858000"/>
  <p:notesSz cx="7010400" cy="9296400"/>
  <p:custDataLst>
    <p:tags r:id="rId35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ly Andrea Castaneda Ramirez (CENIT)" initials="YACR(" lastIdx="2" clrIdx="0">
    <p:extLst>
      <p:ext uri="{19B8F6BF-5375-455C-9EA6-DF929625EA0E}">
        <p15:presenceInfo xmlns:p15="http://schemas.microsoft.com/office/powerpoint/2012/main" userId="S::yuly.castaneda@cenit-transporte.com::9d6b9224-b289-47c8-b6d4-3bf1381012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BF4"/>
    <a:srgbClr val="7030A0"/>
    <a:srgbClr val="D5DA41"/>
    <a:srgbClr val="07212E"/>
    <a:srgbClr val="E53D12"/>
    <a:srgbClr val="FF9933"/>
    <a:srgbClr val="F2F2F2"/>
    <a:srgbClr val="FEE382"/>
    <a:srgbClr val="CC6600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8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12B216-019E-4036-8562-57EF95F31BD5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82204-AC2A-435A-8E03-13AC72C75B63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3148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132AF8-1D01-D044-82F4-18027017BC9E}" type="slidenum">
              <a:rPr lang="es-ES_tradnl" smtClean="0"/>
              <a:t>10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09427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82204-AC2A-435A-8E03-13AC72C75B63}" type="slidenum">
              <a:rPr lang="es-CO" smtClean="0"/>
              <a:t>2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38552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3.emf"/><Relationship Id="rId9" Type="http://schemas.openxmlformats.org/officeDocument/2006/relationships/oleObject" Target="../embeddings/oleObject4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2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0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18468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7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280890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24, Blanco)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98213" y="3883792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_tradnl" noProof="0"/>
              <a:t>Fecha de la presentación (DD de mes de AÑO) (Arial, 16, Azul Claro)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16593" y="372730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WORKING</a:t>
            </a:r>
            <a:r>
              <a:rPr lang="es-ES_tradnl" sz="689" b="1">
                <a:solidFill>
                  <a:srgbClr val="DCEBF4">
                    <a:lumMod val="25000"/>
                  </a:srgbClr>
                </a:solidFill>
              </a:rPr>
              <a:t> </a:t>
            </a: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DRAFT</a:t>
            </a:r>
            <a:endParaRPr lang="es-ES_tradnl" sz="689" b="1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16591" y="531465"/>
            <a:ext cx="244778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DCEBF4">
                    <a:lumMod val="25000"/>
                  </a:srgbClr>
                </a:solidFill>
              </a:rPr>
              <a:t>Last Modified 31/10/2016 3:14 p. m. SA Pacific Standard Time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16592" y="691820"/>
            <a:ext cx="28052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err="1">
                <a:solidFill>
                  <a:srgbClr val="DCEBF4">
                    <a:lumMod val="25000"/>
                  </a:srgbClr>
                </a:solidFill>
              </a:rPr>
              <a:t>Printed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grpSp>
        <p:nvGrpSpPr>
          <p:cNvPr id="37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8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39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0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41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5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7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56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 rot="16200000" flipH="1">
            <a:off x="7067861" y="140198"/>
            <a:ext cx="580815" cy="9658831"/>
            <a:chOff x="1373570" y="4512865"/>
            <a:chExt cx="569252" cy="7099493"/>
          </a:xfrm>
        </p:grpSpPr>
        <p:sp>
          <p:nvSpPr>
            <p:cNvPr id="59" name="Rectangle 87"/>
            <p:cNvSpPr>
              <a:spLocks noChangeArrowheads="1"/>
            </p:cNvSpPr>
            <p:nvPr userDrawn="1"/>
          </p:nvSpPr>
          <p:spPr bwMode="auto">
            <a:xfrm rot="16200000">
              <a:off x="-1492699" y="8224274"/>
              <a:ext cx="6502776" cy="273392"/>
            </a:xfrm>
            <a:prstGeom prst="rect">
              <a:avLst/>
            </a:pr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  <p:sp>
          <p:nvSpPr>
            <p:cNvPr id="60" name="Freeform 88"/>
            <p:cNvSpPr>
              <a:spLocks noEditPoints="1"/>
            </p:cNvSpPr>
            <p:nvPr userDrawn="1"/>
          </p:nvSpPr>
          <p:spPr bwMode="auto">
            <a:xfrm rot="5400000">
              <a:off x="1359837" y="4526598"/>
              <a:ext cx="596717" cy="569252"/>
            </a:xfrm>
            <a:custGeom>
              <a:avLst/>
              <a:gdLst>
                <a:gd name="T0" fmla="*/ 176 w 201"/>
                <a:gd name="T1" fmla="*/ 16 h 192"/>
                <a:gd name="T2" fmla="*/ 97 w 201"/>
                <a:gd name="T3" fmla="*/ 16 h 192"/>
                <a:gd name="T4" fmla="*/ 17 w 201"/>
                <a:gd name="T5" fmla="*/ 92 h 192"/>
                <a:gd name="T6" fmla="*/ 17 w 201"/>
                <a:gd name="T7" fmla="*/ 167 h 192"/>
                <a:gd name="T8" fmla="*/ 0 w 201"/>
                <a:gd name="T9" fmla="*/ 167 h 192"/>
                <a:gd name="T10" fmla="*/ 0 w 201"/>
                <a:gd name="T11" fmla="*/ 192 h 192"/>
                <a:gd name="T12" fmla="*/ 134 w 201"/>
                <a:gd name="T13" fmla="*/ 192 h 192"/>
                <a:gd name="T14" fmla="*/ 134 w 201"/>
                <a:gd name="T15" fmla="*/ 167 h 192"/>
                <a:gd name="T16" fmla="*/ 117 w 201"/>
                <a:gd name="T17" fmla="*/ 167 h 192"/>
                <a:gd name="T18" fmla="*/ 117 w 201"/>
                <a:gd name="T19" fmla="*/ 136 h 192"/>
                <a:gd name="T20" fmla="*/ 142 w 201"/>
                <a:gd name="T21" fmla="*/ 108 h 192"/>
                <a:gd name="T22" fmla="*/ 176 w 201"/>
                <a:gd name="T23" fmla="*/ 108 h 192"/>
                <a:gd name="T24" fmla="*/ 176 w 201"/>
                <a:gd name="T25" fmla="*/ 125 h 192"/>
                <a:gd name="T26" fmla="*/ 201 w 201"/>
                <a:gd name="T27" fmla="*/ 125 h 192"/>
                <a:gd name="T28" fmla="*/ 201 w 201"/>
                <a:gd name="T29" fmla="*/ 0 h 192"/>
                <a:gd name="T30" fmla="*/ 176 w 201"/>
                <a:gd name="T31" fmla="*/ 0 h 192"/>
                <a:gd name="T32" fmla="*/ 176 w 201"/>
                <a:gd name="T33" fmla="*/ 16 h 192"/>
                <a:gd name="T34" fmla="*/ 176 w 201"/>
                <a:gd name="T35" fmla="*/ 16 h 192"/>
                <a:gd name="T36" fmla="*/ 176 w 201"/>
                <a:gd name="T37" fmla="*/ 1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1" h="192">
                  <a:moveTo>
                    <a:pt x="176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17" y="16"/>
                    <a:pt x="17" y="92"/>
                    <a:pt x="17" y="92"/>
                  </a:cubicBezTo>
                  <a:cubicBezTo>
                    <a:pt x="17" y="167"/>
                    <a:pt x="17" y="167"/>
                    <a:pt x="17" y="16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7" y="136"/>
                    <a:pt x="115" y="108"/>
                    <a:pt x="142" y="108"/>
                  </a:cubicBezTo>
                  <a:cubicBezTo>
                    <a:pt x="176" y="108"/>
                    <a:pt x="176" y="108"/>
                    <a:pt x="176" y="108"/>
                  </a:cubicBezTo>
                  <a:cubicBezTo>
                    <a:pt x="176" y="125"/>
                    <a:pt x="176" y="125"/>
                    <a:pt x="176" y="125"/>
                  </a:cubicBezTo>
                  <a:cubicBezTo>
                    <a:pt x="201" y="125"/>
                    <a:pt x="201" y="125"/>
                    <a:pt x="201" y="125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176" y="0"/>
                    <a:pt x="176" y="0"/>
                    <a:pt x="176" y="0"/>
                  </a:cubicBezTo>
                  <a:lnTo>
                    <a:pt x="176" y="16"/>
                  </a:lnTo>
                  <a:close/>
                  <a:moveTo>
                    <a:pt x="176" y="16"/>
                  </a:moveTo>
                  <a:cubicBezTo>
                    <a:pt x="176" y="16"/>
                    <a:pt x="176" y="16"/>
                    <a:pt x="176" y="16"/>
                  </a:cubicBezTo>
                </a:path>
              </a:pathLst>
            </a:cu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48" name="Object 4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5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5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8" name="Object 5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58" name="Object 5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6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6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6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6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pic>
        <p:nvPicPr>
          <p:cNvPr id="68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5144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411AF-5418-4C83-BA51-28505081766E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D1913-40D6-4ABE-93D6-D1AE9FF6CAC8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55948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D122B0-0412-4D7A-B617-BEA6F282AA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250734F-2247-4ABB-A230-873FA3B094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6EDFCF-C38D-415B-97D0-9B9798F80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54CEF5C-99E0-4B86-84A7-E61CF66CC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8F52087-CE37-4828-92C7-559F4BF19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5165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4D4E55-43B6-44E2-91A9-77EE387A2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FE1BBFD-D1D8-4954-8A62-8B4339BC4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C98F14F-4D87-419F-B2DC-5CB5B474C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C667438-696A-4E4F-84E2-A47C35536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636E6F-DBED-4DC2-AE30-E29ED4644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72141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0B4E65-D991-4150-9F06-3A4AEF031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5A7DF2-CE62-41DA-9DAE-0F0C7F4712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340ADDD-38DB-4725-9259-755508520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7A41632-0B3A-47C5-802C-32F5FFA9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5F5C36-67A7-4105-9B53-8DF5FA9C3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612549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CD9991-AD6A-4064-A5CE-4CB483A49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A01B24-B4AF-4C9B-89C8-12816470E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5A31059-5DE2-46C0-ACE4-7290745559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A4B9DFA-1DFE-4413-B519-DD4197B3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618CFDB-632B-4511-ACC7-D64AC7084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79EEAC8-5F73-4290-845A-8A892A3E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4253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20AC4D-1013-4C0A-BD3A-61FD76DC0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D0DC0D9-01B1-4B64-8D9E-DBC7291DB5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FFB5FD5-1C25-44DE-888C-E9C9DF5397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E2355A5-1B85-441E-ABFA-9AC7D4E23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8013EA6-796B-4935-8EC7-2EB0482362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995C99AF-0A72-44E7-8684-A5BBE2D79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87E52CF-7EF6-4452-87AB-662A2EA48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2CB858EB-81E3-425C-8375-AC15BE945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1259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0331F2-FD51-42EB-9F87-98EF25CC0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9C5BEE8-0DD7-4061-9848-7895E92EF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0C94C06-01FA-4533-927C-918CF8D34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A4B0F9C-0747-4E54-A16E-6926F7D25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146934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A7DC31C-A969-40AF-B93E-CFE58EAC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3DF1604-3C41-4294-BED7-9FE66C07D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28572EE-1C2E-4539-924D-FE4678F4C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018847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50FA73-BE18-4889-B13F-D3576AFF5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FE3B0B-E9A2-40D7-966B-6C67C491F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B9F0437-AA3C-4DBA-88CD-6E6670DB61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78E75E2-F638-4146-BC0D-F1C4507E9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CA58B67-0620-4478-99B6-A3AF79303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4BE2D1E-5AD2-41A3-BD33-5D889657E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65853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D0AC813-DDE5-472B-94D8-667E1D6C2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4BB18D3-E6FF-4885-8A11-B711A866BF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069E3CA-41C4-432D-89E2-B09FF46E52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38E9A9C-0363-4185-89EB-1788D502B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9DB738A-7BAD-4A0E-926D-67DC5DB9A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BE68C4D-A3DC-4F49-A8B7-DD63A1733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7422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5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351446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Sección (Arial, 24, Azul Oscuro)</a:t>
            </a:r>
          </a:p>
        </p:txBody>
      </p:sp>
      <p:sp>
        <p:nvSpPr>
          <p:cNvPr id="8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31362" y="6419408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16, Azul Oscuro)</a:t>
            </a:r>
          </a:p>
        </p:txBody>
      </p:sp>
      <p:grpSp>
        <p:nvGrpSpPr>
          <p:cNvPr id="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1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1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2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7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8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9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2" name="Rectangle 87"/>
          <p:cNvSpPr>
            <a:spLocks noChangeArrowheads="1"/>
          </p:cNvSpPr>
          <p:nvPr/>
        </p:nvSpPr>
        <p:spPr bwMode="auto">
          <a:xfrm flipH="1">
            <a:off x="3340684" y="4932675"/>
            <a:ext cx="8847000" cy="27894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3" name="Freeform 88"/>
          <p:cNvSpPr>
            <a:spLocks noEditPoints="1"/>
          </p:cNvSpPr>
          <p:nvPr/>
        </p:nvSpPr>
        <p:spPr bwMode="auto">
          <a:xfrm rot="10800000" flipH="1">
            <a:off x="2528854" y="4679205"/>
            <a:ext cx="811831" cy="58081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24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25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27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8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4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1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4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sp>
        <p:nvSpPr>
          <p:cNvPr id="4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chemeClr val="tx2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9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5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4937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6247A5-8B8C-461C-8CDE-A56F23DAF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6EFD238-BF68-42D0-BADD-C12AD34063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8EC7B95-DF5D-4895-8A1A-ACA04B24F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29D4ED-3D2E-408E-9347-E59E5101D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8F796B8-CF7E-4E3C-96D4-7C210A74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344282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154E65A-3C66-4FDC-B9CA-62C6BC81EB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E404ACC-FEC1-4FAD-8303-B1336598F8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2973CD9-F94B-4482-8E98-E1F9A6476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A753E0-BEF8-43BC-A838-C95BA43F2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00E3D86-68EB-4C43-82B4-F849C3461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2389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515981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58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10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ES" sz="853" baseline="0" noProof="0" dirty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/>
        </p:nvGrpSpPr>
        <p:grpSpPr bwMode="auto">
          <a:xfrm>
            <a:off x="3090575" y="263460"/>
            <a:ext cx="1741648" cy="553874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279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279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/>
        </p:nvSpPr>
        <p:spPr>
          <a:xfrm rot="5400000">
            <a:off x="-301145" y="4206677"/>
            <a:ext cx="1870183" cy="1267891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367396" y="121514"/>
            <a:ext cx="90049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4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367396" y="247125"/>
            <a:ext cx="3815785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40" baseline="0" noProof="0">
                <a:solidFill>
                  <a:schemeClr val="bg1"/>
                </a:solidFill>
                <a:latin typeface="+mn-lt"/>
              </a:rPr>
              <a:t>Last Modified 8/27/2019 06:39 Central Standard Time</a:t>
            </a:r>
            <a:endParaRPr lang="es-ES" sz="64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367398" y="372737"/>
            <a:ext cx="3618996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4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90893" y="747983"/>
            <a:ext cx="6357713" cy="393605"/>
          </a:xfrm>
          <a:prstGeom prst="rect">
            <a:avLst/>
          </a:prstGeom>
        </p:spPr>
        <p:txBody>
          <a:bodyPr/>
          <a:lstStyle>
            <a:lvl1pPr>
              <a:defRPr sz="2558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s-E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90895" y="2628592"/>
            <a:ext cx="3720470" cy="1721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19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s-E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90895" y="3150697"/>
            <a:ext cx="3720470" cy="172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1119" baseline="0" noProof="0" dirty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/>
        </p:nvSpPr>
        <p:spPr bwMode="black">
          <a:xfrm>
            <a:off x="147168" y="6494737"/>
            <a:ext cx="2943404" cy="196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57894" eaLnBrk="0" hangingPunct="0"/>
            <a:r>
              <a:rPr lang="es-CO" sz="640" baseline="0" dirty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857894" eaLnBrk="0" hangingPunct="0"/>
            <a:r>
              <a:rPr lang="es-CO" sz="640" baseline="0" dirty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  <a:endParaRPr lang="es-ES" sz="640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24582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4" y="6424796"/>
            <a:ext cx="144270" cy="9848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640" smtClean="0">
                <a:solidFill>
                  <a:schemeClr val="accent6"/>
                </a:solidFill>
              </a:rPr>
              <a:pPr lvl="0"/>
              <a:t>‹Nº›</a:t>
            </a:fld>
            <a:endParaRPr lang="es-ES" sz="640" dirty="0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10416" y="6654029"/>
            <a:ext cx="80470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4342"/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9" y="6155681"/>
            <a:ext cx="1356175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/>
        </p:nvCxnSpPr>
        <p:spPr>
          <a:xfrm>
            <a:off x="11493879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/>
        </p:nvCxnSpPr>
        <p:spPr>
          <a:xfrm>
            <a:off x="10777293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364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961">
          <p15:clr>
            <a:srgbClr val="F26B43"/>
          </p15:clr>
        </p15:guide>
        <p15:guide id="2" pos="107">
          <p15:clr>
            <a:srgbClr val="F26B43"/>
          </p15:clr>
        </p15:guide>
        <p15:guide id="3" orient="horz" pos="959">
          <p15:clr>
            <a:srgbClr val="F26B43"/>
          </p15:clr>
        </p15:guide>
        <p15:guide id="4" orient="horz" pos="5445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86" imgH="386" progId="TCLayout.ActiveDocument.1">
                  <p:embed/>
                </p:oleObj>
              </mc:Choice>
              <mc:Fallback>
                <p:oleObj name="Diapositiva de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3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98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/>
        </p:nvSpPr>
        <p:spPr>
          <a:xfrm>
            <a:off x="3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/>
        </p:nvSpPr>
        <p:spPr>
          <a:xfrm rot="5400000">
            <a:off x="-452076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918" y="234866"/>
            <a:ext cx="11366552" cy="430626"/>
          </a:xfrm>
        </p:spPr>
        <p:txBody>
          <a:bodyPr/>
          <a:lstStyle>
            <a:lvl1pPr>
              <a:defRPr sz="27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10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710416" y="6654029"/>
            <a:ext cx="80470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4342"/>
            <a:r>
              <a:rPr lang="es-ES" sz="64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4"/>
            <a:ext cx="1974585" cy="88874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/>
        </p:nvSpPr>
        <p:spPr>
          <a:xfrm rot="10800000">
            <a:off x="9648740" y="5347174"/>
            <a:ext cx="2543263" cy="151082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/>
        </p:nvSpPr>
        <p:spPr>
          <a:xfrm rot="16200000">
            <a:off x="11415465" y="4987119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4" y="6424796"/>
            <a:ext cx="144270" cy="9848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640" smtClean="0">
                <a:solidFill>
                  <a:schemeClr val="bg1"/>
                </a:solidFill>
              </a:rPr>
              <a:pPr lvl="0"/>
              <a:t>‹Nº›</a:t>
            </a:fld>
            <a:endParaRPr lang="es-ES" sz="640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/>
        </p:nvCxnSpPr>
        <p:spPr>
          <a:xfrm>
            <a:off x="11493879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6124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32">
          <p15:clr>
            <a:srgbClr val="000000"/>
          </p15:clr>
        </p15:guide>
        <p15:guide id="2" orient="horz" pos="794">
          <p15:clr>
            <a:srgbClr val="000000"/>
          </p15:clr>
        </p15:guide>
        <p15:guide id="3" orient="horz" pos="5449">
          <p15:clr>
            <a:srgbClr val="000000"/>
          </p15:clr>
        </p15:guide>
        <p15:guide id="4" pos="104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477D9-A47B-4436-8B16-5BB9047A6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83303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4291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Contenido_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r>
              <a:rPr lang="es-ES_tradnl"/>
              <a:t>Título de la diapositiva (Arial, 20, Azul)</a:t>
            </a:r>
          </a:p>
        </p:txBody>
      </p:sp>
    </p:spTree>
    <p:extLst>
      <p:ext uri="{BB962C8B-B14F-4D97-AF65-F5344CB8AC3E}">
        <p14:creationId xmlns:p14="http://schemas.microsoft.com/office/powerpoint/2010/main" val="2400614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cxnSp>
        <p:nvCxnSpPr>
          <p:cNvPr id="8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Marcador de contenido 2"/>
          <p:cNvSpPr>
            <a:spLocks noGrp="1"/>
          </p:cNvSpPr>
          <p:nvPr>
            <p:ph sz="quarter" idx="10"/>
          </p:nvPr>
        </p:nvSpPr>
        <p:spPr>
          <a:xfrm>
            <a:off x="330506" y="1068636"/>
            <a:ext cx="11530988" cy="51448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148205" indent="-146990">
              <a:buFont typeface="Arial" panose="020B0604020202020204" pitchFamily="34" charset="0"/>
              <a:buChar char="•"/>
              <a:defRPr sz="1800"/>
            </a:lvl2pPr>
            <a:lvl3pPr>
              <a:defRPr sz="1600"/>
            </a:lvl3pPr>
            <a:lvl4pPr marL="470126" indent="-119050"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2884995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11"/>
          </p:nvPr>
        </p:nvSpPr>
        <p:spPr>
          <a:xfrm>
            <a:off x="330506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contenido 5"/>
          <p:cNvSpPr>
            <a:spLocks noGrp="1"/>
          </p:cNvSpPr>
          <p:nvPr>
            <p:ph sz="quarter" idx="12"/>
          </p:nvPr>
        </p:nvSpPr>
        <p:spPr>
          <a:xfrm>
            <a:off x="6194119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597560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211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29B7-5B88-CC41-8991-D88408B32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BA3371-5127-5446-8196-249F0AD4CA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01898-25FC-4C43-89DD-D41CE6F9B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16FDB-40E5-F744-A407-CCA15F7D9349}" type="datetimeFigureOut">
              <a:rPr lang="es-ES_tradnl" smtClean="0"/>
              <a:t>23/06/2021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162C0-FCAB-074E-A9D6-4D25F292D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67365-EFE7-6542-B2CA-AF3655FAD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D57BF-6487-F840-AF2A-7FB0C751C27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05177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9087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.emf"/><Relationship Id="rId5" Type="http://schemas.openxmlformats.org/officeDocument/2006/relationships/theme" Target="../theme/theme3.xml"/><Relationship Id="rId15" Type="http://schemas.openxmlformats.org/officeDocument/2006/relationships/tags" Target="../tags/tag17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270" imgH="270" progId="TCLayout.ActiveDocument.1">
                  <p:embed/>
                </p:oleObj>
              </mc:Choice>
              <mc:Fallback>
                <p:oleObj name="Diapositiva de think-cell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BottomBar"/>
          <p:cNvSpPr>
            <a:spLocks noChangeArrowheads="1"/>
          </p:cNvSpPr>
          <p:nvPr/>
        </p:nvSpPr>
        <p:spPr bwMode="auto">
          <a:xfrm>
            <a:off x="0" y="6315773"/>
            <a:ext cx="12192000" cy="543848"/>
          </a:xfrm>
          <a:prstGeom prst="rect">
            <a:avLst/>
          </a:prstGeom>
          <a:solidFill>
            <a:srgbClr val="C3DDEB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s-ES_tradnl" sz="612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97870" y="1991783"/>
            <a:ext cx="159819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</a:rPr>
              <a:t>Last Modified 31/10/2016 3:14 p. m. SA Pacific Standard Time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2005598" y="4209763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459" err="1">
                <a:solidFill>
                  <a:srgbClr val="000000"/>
                </a:solidFill>
              </a:rPr>
              <a:t>Printed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</a:rPr>
              <a:t>Unit</a:t>
            </a:r>
            <a:r>
              <a:rPr lang="es-ES_tradnl" sz="1224">
                <a:solidFill>
                  <a:srgbClr val="808080"/>
                </a:solidFill>
              </a:rPr>
              <a:t> of </a:t>
            </a:r>
            <a:r>
              <a:rPr lang="es-ES_tradnl" sz="1224" err="1">
                <a:solidFill>
                  <a:srgbClr val="808080"/>
                </a:solidFill>
              </a:rPr>
              <a:t>measure</a:t>
            </a:r>
            <a:endParaRPr lang="es-ES_tradnl" sz="1224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61986" y="6240885"/>
            <a:ext cx="11630455" cy="476206"/>
            <a:chOff x="75" y="3853"/>
            <a:chExt cx="5385" cy="294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FUENTE: Análisis equipo de trabajo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</a:rPr>
                <a:t>Title</a:t>
              </a:r>
              <a:endParaRPr lang="es-ES_tradnl" sz="1378" b="1">
                <a:solidFill>
                  <a:srgbClr val="000000"/>
                </a:solidFill>
              </a:endParaRPr>
            </a:p>
            <a:p>
              <a:r>
                <a:rPr lang="es-ES_tradnl" sz="1378" err="1">
                  <a:solidFill>
                    <a:srgbClr val="808080"/>
                  </a:solidFill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</a:rPr>
                <a:t>measure</a:t>
              </a:r>
              <a:endParaRPr lang="es-ES_tradnl" sz="1378">
                <a:solidFill>
                  <a:srgbClr val="808080"/>
                </a:solidFill>
              </a:endParaRPr>
            </a:p>
          </p:txBody>
        </p:sp>
      </p:grpSp>
      <p:sp>
        <p:nvSpPr>
          <p:cNvPr id="2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2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2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2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3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3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3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41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368511" y="6585333"/>
            <a:ext cx="968214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s-ES_tradnl" sz="765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4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4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4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4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4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4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378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378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cxnSp>
        <p:nvCxnSpPr>
          <p:cNvPr id="52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3" name="Imagen 5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811" y="6359097"/>
            <a:ext cx="652928" cy="457200"/>
          </a:xfrm>
          <a:prstGeom prst="rect">
            <a:avLst/>
          </a:prstGeom>
        </p:spPr>
      </p:pic>
      <p:sp>
        <p:nvSpPr>
          <p:cNvPr id="54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2954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73329" algn="l"/>
        </a:tabLst>
        <a:defRPr sz="1454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AD902B8-55C1-4278-A86B-6A98FA313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4CE6F3-988A-44E4-A56D-6989F4B3C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0957870-A081-4459-8A6F-CA8B2BC22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5393CC-A1E3-46BF-8B50-8C9CD2C8FA82}" type="datetimeFigureOut">
              <a:rPr lang="es-CO" smtClean="0"/>
              <a:t>23/06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19CA791-CCEA-434F-BC61-123A4C7C6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2168022-F52F-4571-A9E6-6C7D67EA70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66741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1705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366803" y="1990181"/>
            <a:ext cx="1460336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8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8/27/2019 06:39 Central Standard Time</a:t>
            </a:r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99187" y="4208162"/>
            <a:ext cx="195566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48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8" y="234866"/>
            <a:ext cx="11725484" cy="246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77303"/>
            <a:ext cx="490519" cy="122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799" cap="all" baseline="0" noProof="0" dirty="0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8" y="566137"/>
            <a:ext cx="11725484" cy="196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" sz="1279" baseline="0" noProof="0" dirty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8" y="6461882"/>
            <a:ext cx="9830693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8527" indent="-68527">
              <a:defRPr/>
            </a:pPr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8" y="6667591"/>
            <a:ext cx="9830693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94662" indent="-394662" defTabSz="954342">
              <a:tabLst/>
            </a:pPr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90209"/>
            <a:ext cx="5801188" cy="411416"/>
            <a:chOff x="915" y="776"/>
            <a:chExt cx="2686" cy="25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6"/>
              <a:ext cx="2686" cy="2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279" b="1" baseline="0" noProof="0" dirty="0">
                  <a:latin typeface="+mn-lt"/>
                  <a:ea typeface="+mn-ea"/>
                </a:rPr>
                <a:t>Título</a:t>
              </a:r>
            </a:p>
            <a:p>
              <a:r>
                <a:rPr lang="es-ES" sz="1279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505474" y="291553"/>
            <a:ext cx="381963" cy="126188"/>
            <a:chOff x="8460021" y="285750"/>
            <a:chExt cx="280754" cy="12367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0021" y="285750"/>
              <a:ext cx="280754" cy="1236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4342">
                <a:buClr>
                  <a:schemeClr val="tx2"/>
                </a:buClr>
              </a:pPr>
              <a:r>
                <a:rPr lang="es-ES" sz="64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0021" y="285750"/>
              <a:ext cx="0" cy="1236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0021" y="409427"/>
              <a:ext cx="28075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79" y="285077"/>
            <a:ext cx="672738" cy="1004242"/>
            <a:chOff x="7835905" y="279400"/>
            <a:chExt cx="659337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19" y="285076"/>
            <a:ext cx="986972" cy="704798"/>
            <a:chOff x="7540629" y="279400"/>
            <a:chExt cx="967311" cy="69076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49" y="255920"/>
            <a:ext cx="740768" cy="1333053"/>
            <a:chOff x="7769225" y="250825"/>
            <a:chExt cx="72601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5336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20" y="6639739"/>
            <a:ext cx="46648" cy="1263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79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3" y="1991017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78172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</p:sldLayoutIdLst>
  <p:hf hdr="0" ftr="0" dt="0"/>
  <p:txStyles>
    <p:titleStyle>
      <a:lvl1pPr algn="l" defTabSz="954342" rtl="0" eaLnBrk="1" fontAlgn="base" hangingPunct="1">
        <a:spcBef>
          <a:spcPct val="0"/>
        </a:spcBef>
        <a:spcAft>
          <a:spcPct val="0"/>
        </a:spcAft>
        <a:tabLst>
          <a:tab pos="287656" algn="l"/>
        </a:tabLst>
        <a:defRPr sz="1599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2pPr>
      <a:lvl3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3pPr>
      <a:lvl4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4pPr>
      <a:lvl5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5pPr>
      <a:lvl6pPr marL="487323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6pPr>
      <a:lvl7pPr marL="974648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7pPr>
      <a:lvl8pPr marL="1461971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8pPr>
      <a:lvl9pPr marL="1949296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55398" indent="-152521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56841" indent="-198565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92096" indent="-123744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98573" indent="-103599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6pPr>
      <a:lvl7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7pPr>
      <a:lvl8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8pPr>
      <a:lvl9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1pPr>
      <a:lvl2pPr marL="487323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2pPr>
      <a:lvl3pPr marL="974648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3pPr>
      <a:lvl4pPr marL="1461971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4pPr>
      <a:lvl5pPr marL="1949296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5pPr>
      <a:lvl6pPr marL="2436619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6pPr>
      <a:lvl7pPr marL="2923943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7pPr>
      <a:lvl8pPr marL="3411267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8pPr>
      <a:lvl9pPr marL="3898590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8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57.png"/><Relationship Id="rId5" Type="http://schemas.openxmlformats.org/officeDocument/2006/relationships/image" Target="../media/image56.svg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ass, sitting, small, plane&#10;&#10;Description automatically generated">
            <a:extLst>
              <a:ext uri="{FF2B5EF4-FFF2-40B4-BE49-F238E27FC236}">
                <a16:creationId xmlns:a16="http://schemas.microsoft.com/office/drawing/2014/main" id="{C6562ECF-1AA1-E74B-9CEB-3FBAB0EB4C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6" y="0"/>
            <a:ext cx="12173964" cy="6858000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4D5F0815-E5B4-4E74-8145-A182522C6A3D}"/>
              </a:ext>
            </a:extLst>
          </p:cNvPr>
          <p:cNvSpPr txBox="1">
            <a:spLocks/>
          </p:cNvSpPr>
          <p:nvPr/>
        </p:nvSpPr>
        <p:spPr>
          <a:xfrm>
            <a:off x="307197" y="365684"/>
            <a:ext cx="6544829" cy="2152664"/>
          </a:xfrm>
          <a:prstGeom prst="rect">
            <a:avLst/>
          </a:prstGeom>
        </p:spPr>
        <p:txBody>
          <a:bodyPr/>
          <a:lstStyle>
            <a:lvl1pPr algn="l" defTabSz="68514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3329" algn="l"/>
              </a:tabLst>
              <a:defRPr sz="24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419" sz="3600" b="1" dirty="0">
                <a:solidFill>
                  <a:schemeClr val="tx2"/>
                </a:solidFill>
              </a:rPr>
              <a:t>Vicepresidencia de Abastecimiento</a:t>
            </a: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ES" sz="2000" b="1" kern="0" dirty="0">
                <a:solidFill>
                  <a:schemeClr val="tx2"/>
                </a:solidFill>
                <a:latin typeface="Arial" panose="020B0604020202020204"/>
              </a:rPr>
              <a:t>Taller Proyecto de Gobierno Corporativo</a:t>
            </a: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endParaRPr kumimoji="0" lang="es-ES" sz="2000" b="1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ES" sz="2000" b="1" kern="0" dirty="0">
                <a:solidFill>
                  <a:srgbClr val="4472C4">
                    <a:lumMod val="50000"/>
                  </a:srgbClr>
                </a:solidFill>
                <a:latin typeface="Arial" panose="020B0604020202020204"/>
              </a:rPr>
              <a:t>Octubre</a:t>
            </a: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2020</a:t>
            </a:r>
            <a:endParaRPr kumimoji="0" lang="es-CO" sz="20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39736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52F0AC2F-4F50-514E-BAC5-40FB8FFE3B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448" y="760150"/>
            <a:ext cx="10022541" cy="4946941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8C6C9463-38E0-44BF-A606-AD2FAE25F4EF}"/>
              </a:ext>
            </a:extLst>
          </p:cNvPr>
          <p:cNvSpPr txBox="1"/>
          <p:nvPr/>
        </p:nvSpPr>
        <p:spPr>
          <a:xfrm>
            <a:off x="5649822" y="2827843"/>
            <a:ext cx="1353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>
                <a:solidFill>
                  <a:srgbClr val="07212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estión del Cambio</a:t>
            </a:r>
            <a:endParaRPr lang="es-CO" sz="1400" b="1">
              <a:solidFill>
                <a:srgbClr val="07212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3D5B9A0C-A094-44A4-8CD7-BD8B7612947C}"/>
              </a:ext>
            </a:extLst>
          </p:cNvPr>
          <p:cNvSpPr txBox="1"/>
          <p:nvPr/>
        </p:nvSpPr>
        <p:spPr>
          <a:xfrm>
            <a:off x="2284656" y="1546355"/>
            <a:ext cx="193185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92FB6B2-22A2-4568-A9CA-7C97419CC0A1}"/>
              </a:ext>
            </a:extLst>
          </p:cNvPr>
          <p:cNvSpPr txBox="1"/>
          <p:nvPr/>
        </p:nvSpPr>
        <p:spPr>
          <a:xfrm>
            <a:off x="1902739" y="4588511"/>
            <a:ext cx="1723086" cy="584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CD2E0FE5-7403-40BC-BD69-19937EDD1C27}"/>
              </a:ext>
            </a:extLst>
          </p:cNvPr>
          <p:cNvSpPr txBox="1"/>
          <p:nvPr/>
        </p:nvSpPr>
        <p:spPr>
          <a:xfrm>
            <a:off x="8647525" y="4608003"/>
            <a:ext cx="2614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1600" b="1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63D96A83-7AC3-44B6-B68B-2AB5BFE50843}"/>
              </a:ext>
            </a:extLst>
          </p:cNvPr>
          <p:cNvSpPr txBox="1"/>
          <p:nvPr/>
        </p:nvSpPr>
        <p:spPr>
          <a:xfrm>
            <a:off x="8306672" y="1570175"/>
            <a:ext cx="2081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1" name="Imagen 100">
            <a:extLst>
              <a:ext uri="{FF2B5EF4-FFF2-40B4-BE49-F238E27FC236}">
                <a16:creationId xmlns:a16="http://schemas.microsoft.com/office/drawing/2014/main" id="{D30FAB84-6765-4EA7-8B2C-0B76621F31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5886" y="5232045"/>
            <a:ext cx="1006096" cy="1006096"/>
          </a:xfrm>
          <a:prstGeom prst="rect">
            <a:avLst/>
          </a:prstGeom>
        </p:spPr>
      </p:pic>
      <p:pic>
        <p:nvPicPr>
          <p:cNvPr id="103" name="Imagen 102" descr="Imagen que contiene dibujo, grafiti, señal, cuarto&#10;&#10;Descripción generada automáticamente">
            <a:extLst>
              <a:ext uri="{FF2B5EF4-FFF2-40B4-BE49-F238E27FC236}">
                <a16:creationId xmlns:a16="http://schemas.microsoft.com/office/drawing/2014/main" id="{7C64DD4C-B66D-4C04-B15D-EDBF75D48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0117" y="5365846"/>
            <a:ext cx="829496" cy="829496"/>
          </a:xfrm>
          <a:prstGeom prst="rect">
            <a:avLst/>
          </a:prstGeom>
        </p:spPr>
      </p:pic>
      <p:pic>
        <p:nvPicPr>
          <p:cNvPr id="105" name="Imagen 104" descr="Imagen que contiene sushi, ventana, grafiti, dibujo&#10;&#10;Descripción generada automáticamente">
            <a:extLst>
              <a:ext uri="{FF2B5EF4-FFF2-40B4-BE49-F238E27FC236}">
                <a16:creationId xmlns:a16="http://schemas.microsoft.com/office/drawing/2014/main" id="{D28A723D-BE5C-4CCD-BB55-26CC0939C1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1119" y="2505388"/>
            <a:ext cx="906126" cy="906126"/>
          </a:xfrm>
          <a:prstGeom prst="rect">
            <a:avLst/>
          </a:prstGeom>
        </p:spPr>
      </p:pic>
      <p:pic>
        <p:nvPicPr>
          <p:cNvPr id="107" name="Imagen 106">
            <a:extLst>
              <a:ext uri="{FF2B5EF4-FFF2-40B4-BE49-F238E27FC236}">
                <a16:creationId xmlns:a16="http://schemas.microsoft.com/office/drawing/2014/main" id="{DDDCB467-82D2-4906-8E14-265CD1697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4865" y="2467669"/>
            <a:ext cx="928561" cy="928561"/>
          </a:xfrm>
          <a:prstGeom prst="rect">
            <a:avLst/>
          </a:prstGeom>
        </p:spPr>
      </p:pic>
      <p:pic>
        <p:nvPicPr>
          <p:cNvPr id="135" name="Imagen 134" descr="Imagen que contiene ventana&#10;&#10;Descripción generada automáticamente">
            <a:extLst>
              <a:ext uri="{FF2B5EF4-FFF2-40B4-BE49-F238E27FC236}">
                <a16:creationId xmlns:a16="http://schemas.microsoft.com/office/drawing/2014/main" id="{4E16E3A8-711F-4172-B56E-43B025F29A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5066" y="3967304"/>
            <a:ext cx="802653" cy="802653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D90E3A1E-2F31-41DC-B883-AFD300F30ED5}"/>
              </a:ext>
            </a:extLst>
          </p:cNvPr>
          <p:cNvSpPr txBox="1"/>
          <p:nvPr/>
        </p:nvSpPr>
        <p:spPr>
          <a:xfrm>
            <a:off x="1035465" y="43512"/>
            <a:ext cx="105160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ASES DEL PROYECTO Y ENTREGABLES POR MACROPROCESO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A71CAB1-059A-4682-B7CE-73D93DC727F2}"/>
              </a:ext>
            </a:extLst>
          </p:cNvPr>
          <p:cNvSpPr txBox="1"/>
          <p:nvPr/>
        </p:nvSpPr>
        <p:spPr>
          <a:xfrm>
            <a:off x="2307942" y="416081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1" name="CuadroTexto 19">
            <a:extLst>
              <a:ext uri="{FF2B5EF4-FFF2-40B4-BE49-F238E27FC236}">
                <a16:creationId xmlns:a16="http://schemas.microsoft.com/office/drawing/2014/main" id="{07CBC177-9FC6-C343-A97F-7D9FD1AD4A40}"/>
              </a:ext>
            </a:extLst>
          </p:cNvPr>
          <p:cNvSpPr txBox="1"/>
          <p:nvPr/>
        </p:nvSpPr>
        <p:spPr>
          <a:xfrm>
            <a:off x="2844542" y="104596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3" name="CuadroTexto 19">
            <a:extLst>
              <a:ext uri="{FF2B5EF4-FFF2-40B4-BE49-F238E27FC236}">
                <a16:creationId xmlns:a16="http://schemas.microsoft.com/office/drawing/2014/main" id="{821B7FB2-45AC-7943-9211-8C5A56B0B1D0}"/>
              </a:ext>
            </a:extLst>
          </p:cNvPr>
          <p:cNvSpPr txBox="1"/>
          <p:nvPr/>
        </p:nvSpPr>
        <p:spPr>
          <a:xfrm>
            <a:off x="9498424" y="415188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4" name="CuadroTexto 19">
            <a:extLst>
              <a:ext uri="{FF2B5EF4-FFF2-40B4-BE49-F238E27FC236}">
                <a16:creationId xmlns:a16="http://schemas.microsoft.com/office/drawing/2014/main" id="{4B1C927A-9904-0645-BCA2-25CA2CAF52C5}"/>
              </a:ext>
            </a:extLst>
          </p:cNvPr>
          <p:cNvSpPr txBox="1"/>
          <p:nvPr/>
        </p:nvSpPr>
        <p:spPr>
          <a:xfrm>
            <a:off x="8891119" y="104094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F7274B33-B192-4347-A044-6DC3E078F83D}"/>
              </a:ext>
            </a:extLst>
          </p:cNvPr>
          <p:cNvSpPr/>
          <p:nvPr/>
        </p:nvSpPr>
        <p:spPr>
          <a:xfrm>
            <a:off x="2460630" y="36250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8C01678-B2F7-1045-90CD-53A08DDEB55A}"/>
              </a:ext>
            </a:extLst>
          </p:cNvPr>
          <p:cNvSpPr/>
          <p:nvPr/>
        </p:nvSpPr>
        <p:spPr>
          <a:xfrm>
            <a:off x="2920370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DC6FE364-503B-7946-8E38-C2A6F34B3F59}"/>
              </a:ext>
            </a:extLst>
          </p:cNvPr>
          <p:cNvSpPr/>
          <p:nvPr/>
        </p:nvSpPr>
        <p:spPr>
          <a:xfrm>
            <a:off x="6100187" y="3379638"/>
            <a:ext cx="453186" cy="4531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6D16295-E7AA-AD4A-BBAC-9BD05EEA09B8}"/>
              </a:ext>
            </a:extLst>
          </p:cNvPr>
          <p:cNvSpPr/>
          <p:nvPr/>
        </p:nvSpPr>
        <p:spPr>
          <a:xfrm>
            <a:off x="9659591" y="3663842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C9BEE47A-869F-5147-B51D-BCF46C0AE4A1}"/>
              </a:ext>
            </a:extLst>
          </p:cNvPr>
          <p:cNvSpPr/>
          <p:nvPr/>
        </p:nvSpPr>
        <p:spPr>
          <a:xfrm>
            <a:off x="9078405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46801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3308794" y="1802081"/>
            <a:ext cx="5732000" cy="35394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s de gobierno de Cenit</a:t>
            </a:r>
            <a:endParaRPr lang="es-ES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6B712A9A-A1B5-5C40-93E1-9889A90849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5" t="9212" r="73220" b="15975"/>
          <a:stretch/>
        </p:blipFill>
        <p:spPr bwMode="auto">
          <a:xfrm>
            <a:off x="9261172" y="1407853"/>
            <a:ext cx="538163" cy="53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8">
            <a:extLst>
              <a:ext uri="{FF2B5EF4-FFF2-40B4-BE49-F238E27FC236}">
                <a16:creationId xmlns:a16="http://schemas.microsoft.com/office/drawing/2014/main" id="{4508CFCE-3704-BB45-8028-EF43011836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6" t="17517" r="15609" b="17455"/>
          <a:stretch/>
        </p:blipFill>
        <p:spPr bwMode="auto">
          <a:xfrm>
            <a:off x="10061176" y="945563"/>
            <a:ext cx="601290" cy="563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18C1DFB3-692A-534F-AC32-C986A4BC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5973" y="1275969"/>
            <a:ext cx="779014" cy="33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3308795" y="1116158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ción 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 estándares internacionales y los de GEE).</a:t>
            </a:r>
          </a:p>
        </p:txBody>
      </p:sp>
      <p:pic>
        <p:nvPicPr>
          <p:cNvPr id="7" name="Picture 4" descr="La OCDE realizará una evaluación externa de la actividad de la AIReF">
            <a:extLst>
              <a:ext uri="{FF2B5EF4-FFF2-40B4-BE49-F238E27FC236}">
                <a16:creationId xmlns:a16="http://schemas.microsoft.com/office/drawing/2014/main" id="{49282EF9-0542-D941-ADFB-971D99A7F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175" y="1498763"/>
            <a:ext cx="601290" cy="417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2" descr="Imagen que contiene firmar, alimentos&#10;&#10;Descripción generada automáticamente">
            <a:extLst>
              <a:ext uri="{FF2B5EF4-FFF2-40B4-BE49-F238E27FC236}">
                <a16:creationId xmlns:a16="http://schemas.microsoft.com/office/drawing/2014/main" id="{59AD9CD2-8747-4542-95C9-8984CD4515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" r="71975" b="3009"/>
          <a:stretch/>
        </p:blipFill>
        <p:spPr>
          <a:xfrm>
            <a:off x="9261172" y="881363"/>
            <a:ext cx="655822" cy="453936"/>
          </a:xfrm>
          <a:prstGeom prst="rect">
            <a:avLst/>
          </a:prstGeom>
        </p:spPr>
      </p:pic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84686" y="207620"/>
            <a:ext cx="513832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183C7245-B99D-DB48-9D89-30411EEB42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13" y="178888"/>
            <a:ext cx="2562373" cy="2562373"/>
          </a:xfrm>
          <a:prstGeom prst="rect">
            <a:avLst/>
          </a:prstGeom>
        </p:spPr>
      </p:pic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3308793" y="2231787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bios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l esquema de poderes generales a tono con la nueva Cenit 2020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C295B3A-2E5B-472E-B079-DF6D14178834}"/>
              </a:ext>
            </a:extLst>
          </p:cNvPr>
          <p:cNvSpPr txBox="1"/>
          <p:nvPr/>
        </p:nvSpPr>
        <p:spPr>
          <a:xfrm>
            <a:off x="1071416" y="4486071"/>
            <a:ext cx="5809673" cy="16619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ódigo de Buen Gobierno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 de Delegación de Autoridad y sus matrice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Asamblea General de Accionista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Junta Directiva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Comité de Auditoría y Riesgos de la Junta Directiva</a:t>
            </a:r>
            <a:endParaRPr lang="es-ES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0AE359A-F3FC-43A1-A0B0-9CFE10F12A5F}"/>
              </a:ext>
            </a:extLst>
          </p:cNvPr>
          <p:cNvSpPr txBox="1"/>
          <p:nvPr/>
        </p:nvSpPr>
        <p:spPr>
          <a:xfrm>
            <a:off x="7157172" y="3791333"/>
            <a:ext cx="3721425" cy="35394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 de Septiembre 2020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7DDB1B69-EC73-4DAD-B1E9-E36A9FA7700C}"/>
              </a:ext>
            </a:extLst>
          </p:cNvPr>
          <p:cNvSpPr txBox="1"/>
          <p:nvPr/>
        </p:nvSpPr>
        <p:spPr>
          <a:xfrm>
            <a:off x="7157172" y="5067684"/>
            <a:ext cx="3721425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de Octubre 2020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B1CE20D-FB6D-4A8F-B398-CFE87A404756}"/>
              </a:ext>
            </a:extLst>
          </p:cNvPr>
          <p:cNvSpPr txBox="1"/>
          <p:nvPr/>
        </p:nvSpPr>
        <p:spPr>
          <a:xfrm>
            <a:off x="1819141" y="3200835"/>
            <a:ext cx="3721425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o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4126819D-2219-4DC1-8039-36E1023E069F}"/>
              </a:ext>
            </a:extLst>
          </p:cNvPr>
          <p:cNvSpPr txBox="1"/>
          <p:nvPr/>
        </p:nvSpPr>
        <p:spPr>
          <a:xfrm>
            <a:off x="1071417" y="3789021"/>
            <a:ext cx="5809673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tutos Sociales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635B89E-D6F2-4D24-A11B-009B2F592502}"/>
              </a:ext>
            </a:extLst>
          </p:cNvPr>
          <p:cNvSpPr txBox="1"/>
          <p:nvPr/>
        </p:nvSpPr>
        <p:spPr>
          <a:xfrm>
            <a:off x="7157173" y="3280277"/>
            <a:ext cx="3721425" cy="35394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da en vigencia</a:t>
            </a:r>
          </a:p>
        </p:txBody>
      </p:sp>
      <p:sp>
        <p:nvSpPr>
          <p:cNvPr id="29" name="CuadroTexto 44">
            <a:extLst>
              <a:ext uri="{FF2B5EF4-FFF2-40B4-BE49-F238E27FC236}">
                <a16:creationId xmlns:a16="http://schemas.microsoft.com/office/drawing/2014/main" id="{6497B98C-D7E0-40EE-93FD-7D042C49631E}"/>
              </a:ext>
            </a:extLst>
          </p:cNvPr>
          <p:cNvSpPr txBox="1"/>
          <p:nvPr/>
        </p:nvSpPr>
        <p:spPr>
          <a:xfrm>
            <a:off x="7804815" y="54777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/>
              <a:t>100%</a:t>
            </a:r>
            <a:endParaRPr lang="es-CO" sz="4000"/>
          </a:p>
        </p:txBody>
      </p:sp>
      <p:sp>
        <p:nvSpPr>
          <p:cNvPr id="8" name="Oval 105">
            <a:extLst>
              <a:ext uri="{FF2B5EF4-FFF2-40B4-BE49-F238E27FC236}">
                <a16:creationId xmlns:a16="http://schemas.microsoft.com/office/drawing/2014/main" id="{591C4119-5F03-49EC-BE67-435D4744873C}"/>
              </a:ext>
            </a:extLst>
          </p:cNvPr>
          <p:cNvSpPr/>
          <p:nvPr/>
        </p:nvSpPr>
        <p:spPr>
          <a:xfrm>
            <a:off x="1112065" y="655626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952512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978068" y="2365182"/>
            <a:ext cx="9598627" cy="87716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el periodo de los miembros de Junta Directiva y del Revisor Fiscal de uno (1) 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(2) año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 línea con las mejores prácticas de gobierno corporativo adoptadas por el Grupo Ecopetrol. </a:t>
            </a:r>
          </a:p>
        </p:txBody>
      </p:sp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978069" y="867091"/>
            <a:ext cx="9598627" cy="140038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nuestro objeto social para consolidar a CENIT como el vehículo del Grupo Ecopetrol no solo en las actividades y servicios relacionados con el transporte y logística de hidrocarburos, sino en la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ción integral al sector petrolero en todo tipo de actividades relacionadas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demás de facilitar la innovación y la atención de nuevos servicios, a tono con la senda de transición energética y las energías renovables.</a:t>
            </a:r>
          </a:p>
        </p:txBody>
      </p:sp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35937" y="227533"/>
            <a:ext cx="6670026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mbios estatutarios más relevantes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978068" y="3475022"/>
            <a:ext cx="959862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función 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cionamiento estratégico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uestra Junta Directiva, robusteciendo el posicionamiento de CENIT como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der del Midstream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9" name="CuadroTexto 66">
            <a:extLst>
              <a:ext uri="{FF2B5EF4-FFF2-40B4-BE49-F238E27FC236}">
                <a16:creationId xmlns:a16="http://schemas.microsoft.com/office/drawing/2014/main" id="{F4EA02F3-489B-4F56-B83B-A3E6EFCD6C62}"/>
              </a:ext>
            </a:extLst>
          </p:cNvPr>
          <p:cNvSpPr txBox="1"/>
          <p:nvPr/>
        </p:nvSpPr>
        <p:spPr>
          <a:xfrm>
            <a:off x="978068" y="4158496"/>
            <a:ext cx="9598628" cy="113877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mos el proceso de contratación y abastecimiento para que l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ción integral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mismo esté en cabeza del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ante Legal para fines de Contratación y Abastecimiento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 reportes periódicos a la Junta Directiva, impulsado por una palanca de agilidad. </a:t>
            </a:r>
          </a:p>
        </p:txBody>
      </p:sp>
      <p:sp>
        <p:nvSpPr>
          <p:cNvPr id="12" name="CuadroTexto 66">
            <a:extLst>
              <a:ext uri="{FF2B5EF4-FFF2-40B4-BE49-F238E27FC236}">
                <a16:creationId xmlns:a16="http://schemas.microsoft.com/office/drawing/2014/main" id="{B9E82B6E-0015-4A40-8F67-A63ADDF3DB44}"/>
              </a:ext>
            </a:extLst>
          </p:cNvPr>
          <p:cNvSpPr txBox="1"/>
          <p:nvPr/>
        </p:nvSpPr>
        <p:spPr>
          <a:xfrm>
            <a:off x="978068" y="5366168"/>
            <a:ext cx="9598628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regulación de los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untos de transparencia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eándonos a las directrices del grupo empresarial, con base en las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internacionale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pic>
        <p:nvPicPr>
          <p:cNvPr id="16" name="Gráfico 15" descr="Marca de insignia1">
            <a:extLst>
              <a:ext uri="{FF2B5EF4-FFF2-40B4-BE49-F238E27FC236}">
                <a16:creationId xmlns:a16="http://schemas.microsoft.com/office/drawing/2014/main" id="{A344A14F-33F3-4B77-9BFB-45506A0EB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1110082"/>
            <a:ext cx="914400" cy="914400"/>
          </a:xfrm>
          <a:prstGeom prst="rect">
            <a:avLst/>
          </a:prstGeom>
        </p:spPr>
      </p:pic>
      <p:pic>
        <p:nvPicPr>
          <p:cNvPr id="18" name="Gráfico 17" descr="Marca de insignia1">
            <a:extLst>
              <a:ext uri="{FF2B5EF4-FFF2-40B4-BE49-F238E27FC236}">
                <a16:creationId xmlns:a16="http://schemas.microsoft.com/office/drawing/2014/main" id="{28260F04-AA04-4E5B-9B8F-06C318CA82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5216744"/>
            <a:ext cx="914400" cy="914400"/>
          </a:xfrm>
          <a:prstGeom prst="rect">
            <a:avLst/>
          </a:prstGeom>
        </p:spPr>
      </p:pic>
      <p:pic>
        <p:nvPicPr>
          <p:cNvPr id="24" name="Gráfico 23" descr="Marca de insignia1">
            <a:extLst>
              <a:ext uri="{FF2B5EF4-FFF2-40B4-BE49-F238E27FC236}">
                <a16:creationId xmlns:a16="http://schemas.microsoft.com/office/drawing/2014/main" id="{5718E154-7845-40C6-BBF4-06E91DDB7B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4270682"/>
            <a:ext cx="914400" cy="914400"/>
          </a:xfrm>
          <a:prstGeom prst="rect">
            <a:avLst/>
          </a:prstGeom>
        </p:spPr>
      </p:pic>
      <p:pic>
        <p:nvPicPr>
          <p:cNvPr id="31" name="Gráfico 30" descr="Marca de insignia1">
            <a:extLst>
              <a:ext uri="{FF2B5EF4-FFF2-40B4-BE49-F238E27FC236}">
                <a16:creationId xmlns:a16="http://schemas.microsoft.com/office/drawing/2014/main" id="{A8E9EF51-64BE-4193-9FDF-A0683F838F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2346563"/>
            <a:ext cx="914400" cy="914400"/>
          </a:xfrm>
          <a:prstGeom prst="rect">
            <a:avLst/>
          </a:prstGeom>
        </p:spPr>
      </p:pic>
      <p:pic>
        <p:nvPicPr>
          <p:cNvPr id="33" name="Gráfico 32" descr="Marca de insignia1">
            <a:extLst>
              <a:ext uri="{FF2B5EF4-FFF2-40B4-BE49-F238E27FC236}">
                <a16:creationId xmlns:a16="http://schemas.microsoft.com/office/drawing/2014/main" id="{E08C4F9D-FF5D-4BC7-87EE-58CF1AFAC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332559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65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18">
            <a:extLst>
              <a:ext uri="{FF2B5EF4-FFF2-40B4-BE49-F238E27FC236}">
                <a16:creationId xmlns:a16="http://schemas.microsoft.com/office/drawing/2014/main" id="{0DE618DD-F247-46AF-8DFA-20E3E36993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5114220"/>
              </p:ext>
            </p:extLst>
          </p:nvPr>
        </p:nvGraphicFramePr>
        <p:xfrm>
          <a:off x="1326981" y="1400687"/>
          <a:ext cx="10088881" cy="4506331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88881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mbio de nombre para que quede: “Comité de Auditoría </a:t>
                      </a:r>
                      <a:r>
                        <a:rPr lang="es-ES" sz="1700" b="1" i="0" u="sng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y Riesgos</a:t>
                      </a: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”, reflejando la realidad de las funciones abordadas</a:t>
                      </a:r>
                      <a:r>
                        <a:rPr lang="es-CO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talecimiento de las funciones en materia de gestión de riesgos para dar marco al gobierno de los mismos, así como claridad frente a los temas de auditoría interna y control interno</a:t>
                      </a:r>
                      <a:r>
                        <a:rPr lang="es-CO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88492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sobre las funciones financieras para recomendar a la Junta y que ésta pueda presentar a la Asamblea General de Accionistas, en el sentido de tenerlas a cargo solo si la Junta no lo ha realizado en pleno (optimización de espacios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933517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medida de composición del Comité de no considerar para próximos periodos del Comité de Auditoría y Riesgos a aquellos miembros de la Junta que dejen de participar sin motivo justificado en un 50% de las reuniones en el periodo inmediatamente anterior al de la respectiva elección. (Alineación Ecopetrol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66485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lización de invitados permanentes, así como de la buena práctica de presentar informes trimestrales a la Junta en pleno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58482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a aprobación del estatuto de la auditoría interna, supervisión de la función de cumplimiento y, en general, actualización en la redacción en temas de estas funciones</a:t>
                      </a:r>
                      <a:r>
                        <a:rPr lang="es-CO" sz="1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</a:tbl>
          </a:graphicData>
        </a:graphic>
      </p:graphicFrame>
      <p:sp>
        <p:nvSpPr>
          <p:cNvPr id="17" name="CuadroTexto 16">
            <a:extLst>
              <a:ext uri="{FF2B5EF4-FFF2-40B4-BE49-F238E27FC236}">
                <a16:creationId xmlns:a16="http://schemas.microsoft.com/office/drawing/2014/main" id="{89D6B7EB-F12A-423E-AB8A-8BA9E3386B25}"/>
              </a:ext>
            </a:extLst>
          </p:cNvPr>
          <p:cNvSpPr txBox="1"/>
          <p:nvPr/>
        </p:nvSpPr>
        <p:spPr>
          <a:xfrm>
            <a:off x="726321" y="146609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A8612C3-18F8-43E4-A7EB-A3F175606542}"/>
              </a:ext>
            </a:extLst>
          </p:cNvPr>
          <p:cNvSpPr txBox="1"/>
          <p:nvPr/>
        </p:nvSpPr>
        <p:spPr>
          <a:xfrm>
            <a:off x="744711" y="203353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085785B-5E65-44C0-9185-52975CCC88CC}"/>
              </a:ext>
            </a:extLst>
          </p:cNvPr>
          <p:cNvSpPr txBox="1"/>
          <p:nvPr/>
        </p:nvSpPr>
        <p:spPr>
          <a:xfrm>
            <a:off x="726321" y="2665671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2ADA33F-8974-4F1B-977A-E7B0056A5635}"/>
              </a:ext>
            </a:extLst>
          </p:cNvPr>
          <p:cNvSpPr txBox="1"/>
          <p:nvPr/>
        </p:nvSpPr>
        <p:spPr>
          <a:xfrm>
            <a:off x="726321" y="3603781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D7AAB2D-1B32-4AA6-9D1F-094345CFBCA6}"/>
              </a:ext>
            </a:extLst>
          </p:cNvPr>
          <p:cNvSpPr txBox="1"/>
          <p:nvPr/>
        </p:nvSpPr>
        <p:spPr>
          <a:xfrm>
            <a:off x="747861" y="4704040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B6EBF9B-A167-436E-A0E4-351E8ADFD0C7}"/>
              </a:ext>
            </a:extLst>
          </p:cNvPr>
          <p:cNvSpPr txBox="1"/>
          <p:nvPr/>
        </p:nvSpPr>
        <p:spPr>
          <a:xfrm>
            <a:off x="763101" y="5315857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416BA93B-5220-4DF4-B1AE-25C2B9AF5010}"/>
              </a:ext>
            </a:extLst>
          </p:cNvPr>
          <p:cNvSpPr txBox="1">
            <a:spLocks/>
          </p:cNvSpPr>
          <p:nvPr/>
        </p:nvSpPr>
        <p:spPr>
          <a:xfrm>
            <a:off x="1726035" y="266697"/>
            <a:ext cx="873992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Cambios relevantes Reglamento Comité de Auditoría y Riesgos CENIT</a:t>
            </a:r>
          </a:p>
        </p:txBody>
      </p:sp>
    </p:spTree>
    <p:extLst>
      <p:ext uri="{BB962C8B-B14F-4D97-AF65-F5344CB8AC3E}">
        <p14:creationId xmlns:p14="http://schemas.microsoft.com/office/powerpoint/2010/main" val="8082281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949D370-FD96-4073-8FBF-7D2C6B5429E3}"/>
              </a:ext>
            </a:extLst>
          </p:cNvPr>
          <p:cNvSpPr txBox="1"/>
          <p:nvPr/>
        </p:nvSpPr>
        <p:spPr>
          <a:xfrm>
            <a:off x="644314" y="10055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224A260-4D01-431A-9C97-58F4C63B844C}"/>
              </a:ext>
            </a:extLst>
          </p:cNvPr>
          <p:cNvSpPr txBox="1"/>
          <p:nvPr/>
        </p:nvSpPr>
        <p:spPr>
          <a:xfrm>
            <a:off x="657172" y="179527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1BC9276-84D1-4D8C-A08E-3C1950622352}"/>
              </a:ext>
            </a:extLst>
          </p:cNvPr>
          <p:cNvSpPr txBox="1"/>
          <p:nvPr/>
        </p:nvSpPr>
        <p:spPr>
          <a:xfrm>
            <a:off x="644314" y="2502489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5B80B9B-A974-49C9-BD64-C7E5DC3FA411}"/>
              </a:ext>
            </a:extLst>
          </p:cNvPr>
          <p:cNvSpPr txBox="1"/>
          <p:nvPr/>
        </p:nvSpPr>
        <p:spPr>
          <a:xfrm>
            <a:off x="644314" y="318161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484815E-883F-4F26-9F38-1E1545D135B1}"/>
              </a:ext>
            </a:extLst>
          </p:cNvPr>
          <p:cNvSpPr txBox="1"/>
          <p:nvPr/>
        </p:nvSpPr>
        <p:spPr>
          <a:xfrm>
            <a:off x="644314" y="449792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7860A4C-21A2-48E0-B165-4649723658F8}"/>
              </a:ext>
            </a:extLst>
          </p:cNvPr>
          <p:cNvSpPr txBox="1"/>
          <p:nvPr/>
        </p:nvSpPr>
        <p:spPr>
          <a:xfrm>
            <a:off x="644314" y="517746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1525450-D68D-447A-A865-2352CB094B9D}"/>
              </a:ext>
            </a:extLst>
          </p:cNvPr>
          <p:cNvSpPr txBox="1"/>
          <p:nvPr/>
        </p:nvSpPr>
        <p:spPr>
          <a:xfrm>
            <a:off x="644314" y="57663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ontent Placeholder 18">
            <a:extLst>
              <a:ext uri="{FF2B5EF4-FFF2-40B4-BE49-F238E27FC236}">
                <a16:creationId xmlns:a16="http://schemas.microsoft.com/office/drawing/2014/main" id="{2D37FFEA-FB45-443E-A71F-D88EA49168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3793086"/>
              </p:ext>
            </p:extLst>
          </p:nvPr>
        </p:nvGraphicFramePr>
        <p:xfrm>
          <a:off x="1358081" y="704538"/>
          <a:ext cx="10251539" cy="547573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251539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97120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misión a otros documentos corporativos para evitar duplicidad de textos que puedan generar diferencias (ej. objeto social de Cenit, productos y servicios de la sociedad, funciones y convocatoria a reuniones de órganos, etc.).</a:t>
                      </a:r>
                      <a:endParaRPr lang="es-CO" sz="17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lusión de declaraciones de mejores prácticas de gobierno corporativo y transparencia a nivel de GEE.</a:t>
                      </a:r>
                      <a:endParaRPr lang="es-CO" sz="17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71205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os reglamentos de Asamblea, Junta y Comité Auditoría y Riesgos como anexos (Alineación Ecopetrol).</a:t>
                      </a:r>
                      <a:endParaRPr lang="es-CO" sz="17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614648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en Presidente y Altos Directivos e inclusión </a:t>
                      </a: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 los Comités de Alta Dirección como órganos en Cenit</a:t>
                      </a:r>
                      <a:r>
                        <a:rPr lang="es-CO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es-CO" sz="1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tualización de textos de revelación de información financiera y regulación de mecanismos de revelación de información y estándares de manejo de la misma</a:t>
                      </a:r>
                      <a:r>
                        <a:rPr lang="es-CO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tualización de los temas de Responsabilidad Social Corporativa, promesa de valor y gestión de grupos de interés. 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y actualización en los órganos externos e internos de control y fortalecimiento de prácticas de buen gobierno frente al revisor fiscal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  <a:tr h="39567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claración de apetito al riesgo y fortalecimiento de textos de conflictos de interés</a:t>
                      </a:r>
                      <a:r>
                        <a:rPr lang="es-CO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423243"/>
                  </a:ext>
                </a:extLst>
              </a:tr>
            </a:tbl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89C4FE79-F166-433C-924B-FADC5DB0B0DF}"/>
              </a:ext>
            </a:extLst>
          </p:cNvPr>
          <p:cNvSpPr txBox="1"/>
          <p:nvPr/>
        </p:nvSpPr>
        <p:spPr>
          <a:xfrm>
            <a:off x="659554" y="385623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ítulo 3">
            <a:extLst>
              <a:ext uri="{FF2B5EF4-FFF2-40B4-BE49-F238E27FC236}">
                <a16:creationId xmlns:a16="http://schemas.microsoft.com/office/drawing/2014/main" id="{3A02962D-5907-45C1-8961-A2C27E9820A2}"/>
              </a:ext>
            </a:extLst>
          </p:cNvPr>
          <p:cNvSpPr txBox="1">
            <a:spLocks/>
          </p:cNvSpPr>
          <p:nvPr/>
        </p:nvSpPr>
        <p:spPr>
          <a:xfrm>
            <a:off x="644314" y="102259"/>
            <a:ext cx="1114401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/>
              <a:t>Cambios relevantes Código de Buen Gobierno</a:t>
            </a:r>
          </a:p>
        </p:txBody>
      </p:sp>
    </p:spTree>
    <p:extLst>
      <p:ext uri="{BB962C8B-B14F-4D97-AF65-F5344CB8AC3E}">
        <p14:creationId xmlns:p14="http://schemas.microsoft.com/office/powerpoint/2010/main" val="42641003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18">
            <a:extLst>
              <a:ext uri="{FF2B5EF4-FFF2-40B4-BE49-F238E27FC236}">
                <a16:creationId xmlns:a16="http://schemas.microsoft.com/office/drawing/2014/main" id="{FC912B18-D631-4203-8148-C29D5E8932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14810"/>
              </p:ext>
            </p:extLst>
          </p:nvPr>
        </p:nvGraphicFramePr>
        <p:xfrm>
          <a:off x="1537881" y="965666"/>
          <a:ext cx="10008683" cy="2734104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61367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Junta Directiv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4627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uevo Comité de Alta </a:t>
                      </a:r>
                      <a:r>
                        <a:rPr lang="es-ES" sz="18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</a:t>
                      </a: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ección </a:t>
                      </a:r>
                      <a:r>
                        <a:rPr lang="es-ES" sz="18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 Gobierno Corporativo como instancia de análisis previo de </a:t>
                      </a: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mas varios </a:t>
                      </a:r>
                      <a:r>
                        <a:rPr lang="es-ES" sz="18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 Gobierno Corporativo.</a:t>
                      </a:r>
                      <a:endParaRPr lang="es-CO" sz="1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unciones del presidente de la Junta y el Secretario, de acuerdo con las mejores prácticas de Gobierno Corporativo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cedimiento previo a las reuniones de la Junta, agenda típica, cronograma y autoevaluación anual, capacitaciones e inducción como derecho de los directores para ejercer su rol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41762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graphicFrame>
        <p:nvGraphicFramePr>
          <p:cNvPr id="16" name="Content Placeholder 18">
            <a:extLst>
              <a:ext uri="{FF2B5EF4-FFF2-40B4-BE49-F238E27FC236}">
                <a16:creationId xmlns:a16="http://schemas.microsoft.com/office/drawing/2014/main" id="{5D4BBD0F-5069-4E96-9460-B89DFC747D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8228699"/>
              </p:ext>
            </p:extLst>
          </p:nvPr>
        </p:nvGraphicFramePr>
        <p:xfrm>
          <a:off x="1537881" y="4165412"/>
          <a:ext cx="10008683" cy="165629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16854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Asamblea General de Accionista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5333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36775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liminación de textos repetidos en estatutos para evitar duplicidad y posibles contradicciones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0482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sobre la unidad de representación y de vot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38747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83B7C534-529F-4519-88B8-45BE1CCCDBE0}"/>
              </a:ext>
            </a:extLst>
          </p:cNvPr>
          <p:cNvSpPr txBox="1"/>
          <p:nvPr/>
        </p:nvSpPr>
        <p:spPr>
          <a:xfrm>
            <a:off x="845294" y="447507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03480A8-492D-4F93-8D46-94905F0CDFD8}"/>
              </a:ext>
            </a:extLst>
          </p:cNvPr>
          <p:cNvSpPr txBox="1"/>
          <p:nvPr/>
        </p:nvSpPr>
        <p:spPr>
          <a:xfrm>
            <a:off x="845294" y="49731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D19C3B8-1FE2-4573-8FCE-E505886A5191}"/>
              </a:ext>
            </a:extLst>
          </p:cNvPr>
          <p:cNvSpPr txBox="1"/>
          <p:nvPr/>
        </p:nvSpPr>
        <p:spPr>
          <a:xfrm>
            <a:off x="845294" y="5447144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C197A61-16CE-45A1-A4EC-A2D9EBC522A6}"/>
              </a:ext>
            </a:extLst>
          </p:cNvPr>
          <p:cNvSpPr txBox="1"/>
          <p:nvPr/>
        </p:nvSpPr>
        <p:spPr>
          <a:xfrm>
            <a:off x="845294" y="146234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6A39EDD-4AB2-4CDE-9781-439D59B8706D}"/>
              </a:ext>
            </a:extLst>
          </p:cNvPr>
          <p:cNvSpPr txBox="1"/>
          <p:nvPr/>
        </p:nvSpPr>
        <p:spPr>
          <a:xfrm>
            <a:off x="845294" y="21007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B95667F-06E7-4C43-95A7-8F31DCEDA1B7}"/>
              </a:ext>
            </a:extLst>
          </p:cNvPr>
          <p:cNvSpPr txBox="1"/>
          <p:nvPr/>
        </p:nvSpPr>
        <p:spPr>
          <a:xfrm>
            <a:off x="845294" y="270540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3499DFB-4B17-4744-B739-07C38AA846BF}"/>
              </a:ext>
            </a:extLst>
          </p:cNvPr>
          <p:cNvSpPr txBox="1"/>
          <p:nvPr/>
        </p:nvSpPr>
        <p:spPr>
          <a:xfrm>
            <a:off x="845294" y="324068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DA3E0F87-051D-4FAB-97B2-AA77D5BD2AB7}"/>
              </a:ext>
            </a:extLst>
          </p:cNvPr>
          <p:cNvSpPr txBox="1">
            <a:spLocks/>
          </p:cNvSpPr>
          <p:nvPr/>
        </p:nvSpPr>
        <p:spPr>
          <a:xfrm>
            <a:off x="231407" y="204160"/>
            <a:ext cx="11915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/>
              <a:t>Cambios relevantes en Reglamentos Asamblea y Junta Directiva</a:t>
            </a:r>
          </a:p>
        </p:txBody>
      </p:sp>
    </p:spTree>
    <p:extLst>
      <p:ext uri="{BB962C8B-B14F-4D97-AF65-F5344CB8AC3E}">
        <p14:creationId xmlns:p14="http://schemas.microsoft.com/office/powerpoint/2010/main" val="4121415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83">
            <a:extLst>
              <a:ext uri="{FF2B5EF4-FFF2-40B4-BE49-F238E27FC236}">
                <a16:creationId xmlns:a16="http://schemas.microsoft.com/office/drawing/2014/main" id="{D52FD195-FC31-4E4A-8A9E-6AFFFC3CEFE1}"/>
              </a:ext>
            </a:extLst>
          </p:cNvPr>
          <p:cNvSpPr txBox="1"/>
          <p:nvPr/>
        </p:nvSpPr>
        <p:spPr>
          <a:xfrm>
            <a:off x="3705739" y="888278"/>
            <a:ext cx="746743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la Gestión de Comités y RAR* en CENIT (definición, gestión, formatos de reglamentación y eliminación/fusión).</a:t>
            </a:r>
          </a:p>
        </p:txBody>
      </p:sp>
      <p:sp>
        <p:nvSpPr>
          <p:cNvPr id="3" name="CuadroTexto 107">
            <a:extLst>
              <a:ext uri="{FF2B5EF4-FFF2-40B4-BE49-F238E27FC236}">
                <a16:creationId xmlns:a16="http://schemas.microsoft.com/office/drawing/2014/main" id="{AD2B7309-9475-DE43-B959-B4062BC69997}"/>
              </a:ext>
            </a:extLst>
          </p:cNvPr>
          <p:cNvSpPr txBox="1"/>
          <p:nvPr/>
        </p:nvSpPr>
        <p:spPr>
          <a:xfrm>
            <a:off x="3699081" y="1611289"/>
            <a:ext cx="7474095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tario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omités y RAR con su </a:t>
            </a:r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ación 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ación 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tiempo de la Alta Dirección.</a:t>
            </a:r>
            <a:endParaRPr lang="es-CO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 descr="A close up of a sign&#10;&#10;Description automatically generated">
            <a:extLst>
              <a:ext uri="{FF2B5EF4-FFF2-40B4-BE49-F238E27FC236}">
                <a16:creationId xmlns:a16="http://schemas.microsoft.com/office/drawing/2014/main" id="{3E7C3733-DE7C-3A4C-8534-D6859C8C1E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89" y="506797"/>
            <a:ext cx="2562373" cy="2554814"/>
          </a:xfrm>
          <a:prstGeom prst="rect">
            <a:avLst/>
          </a:prstGeom>
        </p:spPr>
      </p:pic>
      <p:sp>
        <p:nvSpPr>
          <p:cNvPr id="24" name="CuadroTexto 47">
            <a:extLst>
              <a:ext uri="{FF2B5EF4-FFF2-40B4-BE49-F238E27FC236}">
                <a16:creationId xmlns:a16="http://schemas.microsoft.com/office/drawing/2014/main" id="{12C6E26F-1E97-A540-AE0D-1C4573D5FAF5}"/>
              </a:ext>
            </a:extLst>
          </p:cNvPr>
          <p:cNvSpPr txBox="1"/>
          <p:nvPr/>
        </p:nvSpPr>
        <p:spPr>
          <a:xfrm>
            <a:off x="3278004" y="176405"/>
            <a:ext cx="4217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AR*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94E72A8-C38B-469E-B3D9-53D0D01A0536}"/>
              </a:ext>
            </a:extLst>
          </p:cNvPr>
          <p:cNvSpPr/>
          <p:nvPr/>
        </p:nvSpPr>
        <p:spPr>
          <a:xfrm>
            <a:off x="747493" y="3518297"/>
            <a:ext cx="1284398" cy="2581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614627F-5836-4EDD-9D2A-35841B0DCBCD}"/>
              </a:ext>
            </a:extLst>
          </p:cNvPr>
          <p:cNvSpPr/>
          <p:nvPr/>
        </p:nvSpPr>
        <p:spPr>
          <a:xfrm>
            <a:off x="2064089" y="3518297"/>
            <a:ext cx="1284398" cy="2581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52DE03C0-966C-406B-B412-A4093B63BD34}"/>
              </a:ext>
            </a:extLst>
          </p:cNvPr>
          <p:cNvCxnSpPr/>
          <p:nvPr/>
        </p:nvCxnSpPr>
        <p:spPr>
          <a:xfrm>
            <a:off x="2045348" y="3759634"/>
            <a:ext cx="0" cy="258110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19DCFED-F16B-4B2F-81B3-6483DD1F9366}"/>
              </a:ext>
            </a:extLst>
          </p:cNvPr>
          <p:cNvCxnSpPr>
            <a:cxnSpLocks/>
          </p:cNvCxnSpPr>
          <p:nvPr/>
        </p:nvCxnSpPr>
        <p:spPr>
          <a:xfrm flipH="1">
            <a:off x="760950" y="4220194"/>
            <a:ext cx="2569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908EA48-9D71-41B9-8619-E53BF962401E}"/>
              </a:ext>
            </a:extLst>
          </p:cNvPr>
          <p:cNvSpPr txBox="1"/>
          <p:nvPr/>
        </p:nvSpPr>
        <p:spPr>
          <a:xfrm>
            <a:off x="834018" y="4146974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A6FCCC0-0489-494F-B3BD-D11327D8EF04}"/>
              </a:ext>
            </a:extLst>
          </p:cNvPr>
          <p:cNvSpPr txBox="1"/>
          <p:nvPr/>
        </p:nvSpPr>
        <p:spPr>
          <a:xfrm>
            <a:off x="834018" y="5037991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CE3ED3A-DE01-4E16-A5DF-2140E74ACF8E}"/>
              </a:ext>
            </a:extLst>
          </p:cNvPr>
          <p:cNvSpPr txBox="1"/>
          <p:nvPr/>
        </p:nvSpPr>
        <p:spPr>
          <a:xfrm>
            <a:off x="2109330" y="5091897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1DE0C5E-DF7A-4FFF-8D04-1A849954E4E4}"/>
              </a:ext>
            </a:extLst>
          </p:cNvPr>
          <p:cNvSpPr txBox="1"/>
          <p:nvPr/>
        </p:nvSpPr>
        <p:spPr>
          <a:xfrm>
            <a:off x="2166656" y="4218400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7107B41-3A93-4392-9C16-CA0B6493B319}"/>
              </a:ext>
            </a:extLst>
          </p:cNvPr>
          <p:cNvSpPr txBox="1"/>
          <p:nvPr/>
        </p:nvSpPr>
        <p:spPr>
          <a:xfrm>
            <a:off x="807727" y="3611360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A3BCF6B-6434-4000-8A8B-288B2674D42C}"/>
              </a:ext>
            </a:extLst>
          </p:cNvPr>
          <p:cNvSpPr txBox="1"/>
          <p:nvPr/>
        </p:nvSpPr>
        <p:spPr>
          <a:xfrm>
            <a:off x="2166656" y="3562434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y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44">
            <a:extLst>
              <a:ext uri="{FF2B5EF4-FFF2-40B4-BE49-F238E27FC236}">
                <a16:creationId xmlns:a16="http://schemas.microsoft.com/office/drawing/2014/main" id="{A217AF25-B5D9-4E79-A590-03BC149292DB}"/>
              </a:ext>
            </a:extLst>
          </p:cNvPr>
          <p:cNvSpPr txBox="1"/>
          <p:nvPr/>
        </p:nvSpPr>
        <p:spPr>
          <a:xfrm>
            <a:off x="7277126" y="48609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/>
              <a:t>100%</a:t>
            </a:r>
            <a:endParaRPr lang="es-CO" sz="400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018B24E-9E13-40A8-BF16-9F308CDE2D5C}"/>
              </a:ext>
            </a:extLst>
          </p:cNvPr>
          <p:cNvSpPr txBox="1"/>
          <p:nvPr/>
        </p:nvSpPr>
        <p:spPr>
          <a:xfrm>
            <a:off x="183827" y="6288039"/>
            <a:ext cx="79408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 b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Reuniones de Alineación y Relacionami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e pueden crear, modificar, eliminar, Comités / RAR (incluyendo reglamentos y reglas y principios) sin validación previa de la SEG Cenit</a:t>
            </a:r>
            <a:r>
              <a:rPr lang="es-CO" sz="1100" b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CO" sz="1100" b="0"/>
          </a:p>
        </p:txBody>
      </p:sp>
      <p:sp>
        <p:nvSpPr>
          <p:cNvPr id="6" name="Oval 98">
            <a:extLst>
              <a:ext uri="{FF2B5EF4-FFF2-40B4-BE49-F238E27FC236}">
                <a16:creationId xmlns:a16="http://schemas.microsoft.com/office/drawing/2014/main" id="{6A18C77A-DE43-47DD-A220-C9425E31C189}"/>
              </a:ext>
            </a:extLst>
          </p:cNvPr>
          <p:cNvSpPr/>
          <p:nvPr/>
        </p:nvSpPr>
        <p:spPr>
          <a:xfrm>
            <a:off x="1115270" y="1930677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60455EE7-79C3-4714-AC41-B22D40CDE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7520" y="2294951"/>
            <a:ext cx="6596214" cy="372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387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47">
            <a:extLst>
              <a:ext uri="{FF2B5EF4-FFF2-40B4-BE49-F238E27FC236}">
                <a16:creationId xmlns:a16="http://schemas.microsoft.com/office/drawing/2014/main" id="{F68A17DE-3ACC-4C72-8ED3-CE0F518FDBA1}"/>
              </a:ext>
            </a:extLst>
          </p:cNvPr>
          <p:cNvSpPr txBox="1"/>
          <p:nvPr/>
        </p:nvSpPr>
        <p:spPr>
          <a:xfrm>
            <a:off x="768626" y="181963"/>
            <a:ext cx="10986052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 Vicepresidencia Abastecimiento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96370D2B-2C99-47FB-977A-1BACABA0448E}"/>
              </a:ext>
            </a:extLst>
          </p:cNvPr>
          <p:cNvCxnSpPr>
            <a:cxnSpLocks/>
          </p:cNvCxnSpPr>
          <p:nvPr/>
        </p:nvCxnSpPr>
        <p:spPr>
          <a:xfrm>
            <a:off x="6096000" y="3088710"/>
            <a:ext cx="0" cy="307450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n 10">
            <a:extLst>
              <a:ext uri="{FF2B5EF4-FFF2-40B4-BE49-F238E27FC236}">
                <a16:creationId xmlns:a16="http://schemas.microsoft.com/office/drawing/2014/main" id="{10789741-94CF-4122-8E3F-04D78FB62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1652" y="3133338"/>
            <a:ext cx="5314362" cy="306477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0F43BEF8-56CE-4D0A-A3BC-3AD0FCE19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9664" y="928778"/>
            <a:ext cx="3268082" cy="1878354"/>
          </a:xfrm>
          <a:prstGeom prst="rect">
            <a:avLst/>
          </a:prstGeom>
        </p:spPr>
      </p:pic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57EE03D-AD0E-42FF-8004-ACF44D511717}"/>
              </a:ext>
            </a:extLst>
          </p:cNvPr>
          <p:cNvCxnSpPr>
            <a:cxnSpLocks/>
          </p:cNvCxnSpPr>
          <p:nvPr/>
        </p:nvCxnSpPr>
        <p:spPr>
          <a:xfrm>
            <a:off x="215142" y="3088710"/>
            <a:ext cx="1153953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n 20">
            <a:extLst>
              <a:ext uri="{FF2B5EF4-FFF2-40B4-BE49-F238E27FC236}">
                <a16:creationId xmlns:a16="http://schemas.microsoft.com/office/drawing/2014/main" id="{926A4ABC-B403-41BD-B93A-8D5B4A44D5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446" y="862593"/>
            <a:ext cx="6583218" cy="2010725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52FFAAE8-1A98-4ABC-A0BB-5701A658FC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142" y="3901128"/>
            <a:ext cx="5713389" cy="1449666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4C93CE0B-EF45-478B-8DCA-C1E8740F7EF0}"/>
              </a:ext>
            </a:extLst>
          </p:cNvPr>
          <p:cNvSpPr/>
          <p:nvPr/>
        </p:nvSpPr>
        <p:spPr>
          <a:xfrm>
            <a:off x="9620250" y="3187700"/>
            <a:ext cx="279400" cy="18258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0528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0523A10E-DA35-40CF-BD7D-D67009251DA3}"/>
              </a:ext>
            </a:extLst>
          </p:cNvPr>
          <p:cNvSpPr txBox="1"/>
          <p:nvPr/>
        </p:nvSpPr>
        <p:spPr>
          <a:xfrm>
            <a:off x="740388" y="1885163"/>
            <a:ext cx="9074331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acer poderoso o fuerte a un individuo o grupo social desfavorecid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r a alguien autoridad, influencia o conocimiento para hacer alg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oderar. </a:t>
            </a:r>
            <a:endParaRPr kumimoji="0" lang="es-CO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36AA02F-527A-4729-8461-D9C60A98D1F7}"/>
              </a:ext>
            </a:extLst>
          </p:cNvPr>
          <p:cNvSpPr/>
          <p:nvPr/>
        </p:nvSpPr>
        <p:spPr>
          <a:xfrm>
            <a:off x="1377287" y="520466"/>
            <a:ext cx="7426779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4800" b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¿Qué es Empoderar?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22A65F2-7F05-45B7-8DAC-751C8D0F53EE}"/>
              </a:ext>
            </a:extLst>
          </p:cNvPr>
          <p:cNvSpPr txBox="1"/>
          <p:nvPr/>
        </p:nvSpPr>
        <p:spPr>
          <a:xfrm>
            <a:off x="740388" y="1672422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E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De </a:t>
            </a: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y </a:t>
            </a: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der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E87E39F6-2317-4B3A-9BE0-9F7E59A8873F}"/>
              </a:ext>
            </a:extLst>
          </p:cNvPr>
          <p:cNvSpPr txBox="1"/>
          <p:nvPr/>
        </p:nvSpPr>
        <p:spPr>
          <a:xfrm>
            <a:off x="670720" y="3300654"/>
            <a:ext cx="1050237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“(…) La investigación muestra que el empoderamiento de los empleados no solo conduce a una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satisfacción en el trabajo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no a un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jor desempeño laboral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y un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compromiso con la organización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 estudio reciente detallado en Harvard Business </a:t>
            </a:r>
            <a:r>
              <a:rPr kumimoji="0" lang="es-E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ncontró que los líderes que empoderan a sus empleados tienen más probabilidades de tener miembros del equipo que son percibidos por sus pares como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tamente creativos y útiles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” Harvard Business </a:t>
            </a:r>
            <a:r>
              <a:rPr kumimoji="0" lang="es-E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26DAA7BC-3D84-4539-9DE0-6959987913C7}"/>
              </a:ext>
            </a:extLst>
          </p:cNvPr>
          <p:cNvSpPr txBox="1"/>
          <p:nvPr/>
        </p:nvSpPr>
        <p:spPr>
          <a:xfrm>
            <a:off x="2203269" y="5698733"/>
            <a:ext cx="76114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1" i="0" u="none" strike="noStrike" kern="1200" cap="none" spc="0" normalizeH="0" baseline="0" noProof="0">
                <a:ln w="0"/>
                <a:solidFill>
                  <a:srgbClr val="3494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</a:rPr>
              <a:t>CONFIANZA</a:t>
            </a:r>
            <a:endParaRPr kumimoji="0" lang="es-CO" sz="6000" b="1" i="0" u="none" strike="noStrike" kern="1200" cap="none" spc="0" normalizeH="0" baseline="0" noProof="0">
              <a:ln w="0"/>
              <a:solidFill>
                <a:srgbClr val="3494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933561B2-ABFE-48FC-8FCA-595FA8EBDF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3054" y="587735"/>
            <a:ext cx="1818558" cy="1818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8575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F5700C51-F66A-449D-BCA0-B494FA67DF03}"/>
              </a:ext>
            </a:extLst>
          </p:cNvPr>
          <p:cNvSpPr/>
          <p:nvPr/>
        </p:nvSpPr>
        <p:spPr>
          <a:xfrm>
            <a:off x="0" y="2674548"/>
            <a:ext cx="12192000" cy="1058002"/>
          </a:xfrm>
          <a:prstGeom prst="rect">
            <a:avLst/>
          </a:prstGeom>
          <a:solidFill>
            <a:srgbClr val="D5D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rgbClr val="07212E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8041FCA-D056-443E-AFB1-6878132F3E5F}"/>
              </a:ext>
            </a:extLst>
          </p:cNvPr>
          <p:cNvSpPr txBox="1"/>
          <p:nvPr/>
        </p:nvSpPr>
        <p:spPr>
          <a:xfrm>
            <a:off x="211953" y="2636451"/>
            <a:ext cx="1176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7200" b="1">
                <a:solidFill>
                  <a:schemeClr val="tx2"/>
                </a:solidFill>
                <a:latin typeface="Californian FB" panose="0207040306080B030204" pitchFamily="18" charset="0"/>
              </a:rPr>
              <a:t>E  M  P  O  D  É  R  A  T  E</a:t>
            </a:r>
            <a:endParaRPr lang="es-CO" sz="7200" b="1">
              <a:solidFill>
                <a:schemeClr val="tx2"/>
              </a:solidFill>
              <a:latin typeface="Californian FB" panose="0207040306080B030204" pitchFamily="18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7C3B44D-CCD9-4C34-A6C9-08FB7C10E08A}"/>
              </a:ext>
            </a:extLst>
          </p:cNvPr>
          <p:cNvSpPr txBox="1"/>
          <p:nvPr/>
        </p:nvSpPr>
        <p:spPr>
          <a:xfrm>
            <a:off x="-160220" y="510154"/>
            <a:ext cx="2677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7200" b="1">
                <a:solidFill>
                  <a:srgbClr val="D5DA41"/>
                </a:solidFill>
                <a:latin typeface="Californian FB" panose="0207040306080B030204" pitchFamily="18" charset="0"/>
              </a:defRPr>
            </a:lvl1pPr>
          </a:lstStyle>
          <a:p>
            <a:r>
              <a:rPr lang="es-ES" sz="3600"/>
              <a:t>E</a:t>
            </a:r>
            <a:r>
              <a:rPr lang="es-ES" sz="1800" b="0">
                <a:solidFill>
                  <a:schemeClr val="tx1"/>
                </a:solidFill>
                <a:latin typeface="+mn-lt"/>
              </a:rPr>
              <a:t>valúa</a:t>
            </a:r>
            <a:endParaRPr lang="es-CO" sz="1800" b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E5BBE52-90F9-41C6-8AAA-C990BB6E5D59}"/>
              </a:ext>
            </a:extLst>
          </p:cNvPr>
          <p:cNvSpPr txBox="1"/>
          <p:nvPr/>
        </p:nvSpPr>
        <p:spPr>
          <a:xfrm>
            <a:off x="1311844" y="1649807"/>
            <a:ext cx="14830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M</a:t>
            </a:r>
            <a:r>
              <a:rPr lang="es-ES"/>
              <a:t>anifiesta</a:t>
            </a:r>
            <a:endParaRPr lang="es-CO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60B3078-8B96-4723-A94E-AF0DEDF6104B}"/>
              </a:ext>
            </a:extLst>
          </p:cNvPr>
          <p:cNvSpPr txBox="1"/>
          <p:nvPr/>
        </p:nvSpPr>
        <p:spPr>
          <a:xfrm>
            <a:off x="2803720" y="541064"/>
            <a:ext cx="10486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P</a:t>
            </a:r>
            <a:r>
              <a:rPr lang="es-ES"/>
              <a:t>ropón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0494279-62DB-4797-8A09-AAECFB1D7A11}"/>
              </a:ext>
            </a:extLst>
          </p:cNvPr>
          <p:cNvSpPr txBox="1"/>
          <p:nvPr/>
        </p:nvSpPr>
        <p:spPr>
          <a:xfrm>
            <a:off x="4967036" y="510154"/>
            <a:ext cx="10230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D</a:t>
            </a:r>
            <a:r>
              <a:rPr lang="es-ES"/>
              <a:t>efine</a:t>
            </a:r>
            <a:endParaRPr lang="es-CO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909E1B8-3B50-4AEE-B6FD-970EC2C3FA78}"/>
              </a:ext>
            </a:extLst>
          </p:cNvPr>
          <p:cNvSpPr txBox="1"/>
          <p:nvPr/>
        </p:nvSpPr>
        <p:spPr>
          <a:xfrm>
            <a:off x="3692799" y="1649807"/>
            <a:ext cx="12891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O</a:t>
            </a:r>
            <a:r>
              <a:rPr lang="es-ES"/>
              <a:t>rganiza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99EBD500-3DAE-4966-82E2-1A7046E22981}"/>
              </a:ext>
            </a:extLst>
          </p:cNvPr>
          <p:cNvSpPr txBox="1"/>
          <p:nvPr/>
        </p:nvSpPr>
        <p:spPr>
          <a:xfrm>
            <a:off x="5943912" y="1649807"/>
            <a:ext cx="1069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/>
              <a:t>jecuta</a:t>
            </a:r>
            <a:endParaRPr lang="es-CO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EBF55FB-5D62-4BE9-9514-82016B4ADD76}"/>
              </a:ext>
            </a:extLst>
          </p:cNvPr>
          <p:cNvSpPr txBox="1"/>
          <p:nvPr/>
        </p:nvSpPr>
        <p:spPr>
          <a:xfrm>
            <a:off x="6866117" y="536696"/>
            <a:ext cx="14350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R</a:t>
            </a:r>
            <a:r>
              <a:rPr lang="es-ES"/>
              <a:t>eflexiona</a:t>
            </a:r>
            <a:endParaRPr lang="es-CO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8059B60-3380-482E-92E9-4DC79C8641DC}"/>
              </a:ext>
            </a:extLst>
          </p:cNvPr>
          <p:cNvSpPr txBox="1"/>
          <p:nvPr/>
        </p:nvSpPr>
        <p:spPr>
          <a:xfrm>
            <a:off x="7975415" y="1649807"/>
            <a:ext cx="1096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A</a:t>
            </a:r>
            <a:r>
              <a:rPr lang="es-ES"/>
              <a:t>fronta</a:t>
            </a:r>
            <a:endParaRPr lang="es-CO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EF628AD-0942-4C01-BC26-D586C9D91257}"/>
              </a:ext>
            </a:extLst>
          </p:cNvPr>
          <p:cNvSpPr txBox="1"/>
          <p:nvPr/>
        </p:nvSpPr>
        <p:spPr>
          <a:xfrm>
            <a:off x="8814426" y="536695"/>
            <a:ext cx="15231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T</a:t>
            </a:r>
            <a:r>
              <a:rPr lang="es-ES"/>
              <a:t>ransforma</a:t>
            </a:r>
            <a:endParaRPr lang="es-CO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40A407D-9E14-4183-9A28-56D03D38D4E6}"/>
              </a:ext>
            </a:extLst>
          </p:cNvPr>
          <p:cNvSpPr txBox="1"/>
          <p:nvPr/>
        </p:nvSpPr>
        <p:spPr>
          <a:xfrm>
            <a:off x="9995696" y="1496798"/>
            <a:ext cx="19258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/>
              <a:t>mpieza de nuevo</a:t>
            </a:r>
            <a:endParaRPr lang="es-CO"/>
          </a:p>
        </p:txBody>
      </p:sp>
      <p:grpSp>
        <p:nvGrpSpPr>
          <p:cNvPr id="33" name="Group 72">
            <a:extLst>
              <a:ext uri="{FF2B5EF4-FFF2-40B4-BE49-F238E27FC236}">
                <a16:creationId xmlns:a16="http://schemas.microsoft.com/office/drawing/2014/main" id="{7070BB4B-4B91-4480-825D-68EB4275DC67}"/>
              </a:ext>
            </a:extLst>
          </p:cNvPr>
          <p:cNvGrpSpPr/>
          <p:nvPr/>
        </p:nvGrpSpPr>
        <p:grpSpPr>
          <a:xfrm>
            <a:off x="9995696" y="4246145"/>
            <a:ext cx="1553014" cy="1561779"/>
            <a:chOff x="5529263" y="2540001"/>
            <a:chExt cx="1163638" cy="1539875"/>
          </a:xfrm>
        </p:grpSpPr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47DA60D5-3D84-4BAB-BD68-44FC3285B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540001"/>
              <a:ext cx="393700" cy="673100"/>
            </a:xfrm>
            <a:custGeom>
              <a:avLst/>
              <a:gdLst>
                <a:gd name="T0" fmla="*/ 820 w 993"/>
                <a:gd name="T1" fmla="*/ 1637 h 1697"/>
                <a:gd name="T2" fmla="*/ 577 w 993"/>
                <a:gd name="T3" fmla="*/ 1404 h 1697"/>
                <a:gd name="T4" fmla="*/ 378 w 993"/>
                <a:gd name="T5" fmla="*/ 1177 h 1697"/>
                <a:gd name="T6" fmla="*/ 224 w 993"/>
                <a:gd name="T7" fmla="*/ 961 h 1697"/>
                <a:gd name="T8" fmla="*/ 113 w 993"/>
                <a:gd name="T9" fmla="*/ 759 h 1697"/>
                <a:gd name="T10" fmla="*/ 40 w 993"/>
                <a:gd name="T11" fmla="*/ 573 h 1697"/>
                <a:gd name="T12" fmla="*/ 5 w 993"/>
                <a:gd name="T13" fmla="*/ 406 h 1697"/>
                <a:gd name="T14" fmla="*/ 5 w 993"/>
                <a:gd name="T15" fmla="*/ 261 h 1697"/>
                <a:gd name="T16" fmla="*/ 27 w 993"/>
                <a:gd name="T17" fmla="*/ 169 h 1697"/>
                <a:gd name="T18" fmla="*/ 84 w 993"/>
                <a:gd name="T19" fmla="*/ 69 h 1697"/>
                <a:gd name="T20" fmla="*/ 202 w 993"/>
                <a:gd name="T21" fmla="*/ 3 h 1697"/>
                <a:gd name="T22" fmla="*/ 279 w 993"/>
                <a:gd name="T23" fmla="*/ 2 h 1697"/>
                <a:gd name="T24" fmla="*/ 432 w 993"/>
                <a:gd name="T25" fmla="*/ 46 h 1697"/>
                <a:gd name="T26" fmla="*/ 529 w 993"/>
                <a:gd name="T27" fmla="*/ 118 h 1697"/>
                <a:gd name="T28" fmla="*/ 587 w 993"/>
                <a:gd name="T29" fmla="*/ 187 h 1697"/>
                <a:gd name="T30" fmla="*/ 648 w 993"/>
                <a:gd name="T31" fmla="*/ 300 h 1697"/>
                <a:gd name="T32" fmla="*/ 688 w 993"/>
                <a:gd name="T33" fmla="*/ 429 h 1697"/>
                <a:gd name="T34" fmla="*/ 708 w 993"/>
                <a:gd name="T35" fmla="*/ 572 h 1697"/>
                <a:gd name="T36" fmla="*/ 548 w 993"/>
                <a:gd name="T37" fmla="*/ 608 h 1697"/>
                <a:gd name="T38" fmla="*/ 529 w 993"/>
                <a:gd name="T39" fmla="*/ 442 h 1697"/>
                <a:gd name="T40" fmla="*/ 446 w 993"/>
                <a:gd name="T41" fmla="*/ 263 h 1697"/>
                <a:gd name="T42" fmla="*/ 398 w 993"/>
                <a:gd name="T43" fmla="*/ 214 h 1697"/>
                <a:gd name="T44" fmla="*/ 312 w 993"/>
                <a:gd name="T45" fmla="*/ 169 h 1697"/>
                <a:gd name="T46" fmla="*/ 240 w 993"/>
                <a:gd name="T47" fmla="*/ 160 h 1697"/>
                <a:gd name="T48" fmla="*/ 207 w 993"/>
                <a:gd name="T49" fmla="*/ 173 h 1697"/>
                <a:gd name="T50" fmla="*/ 176 w 993"/>
                <a:gd name="T51" fmla="*/ 223 h 1697"/>
                <a:gd name="T52" fmla="*/ 162 w 993"/>
                <a:gd name="T53" fmla="*/ 288 h 1697"/>
                <a:gd name="T54" fmla="*/ 165 w 993"/>
                <a:gd name="T55" fmla="*/ 399 h 1697"/>
                <a:gd name="T56" fmla="*/ 241 w 993"/>
                <a:gd name="T57" fmla="*/ 656 h 1697"/>
                <a:gd name="T58" fmla="*/ 362 w 993"/>
                <a:gd name="T59" fmla="*/ 879 h 1697"/>
                <a:gd name="T60" fmla="*/ 504 w 993"/>
                <a:gd name="T61" fmla="*/ 1079 h 1697"/>
                <a:gd name="T62" fmla="*/ 691 w 993"/>
                <a:gd name="T63" fmla="*/ 1291 h 1697"/>
                <a:gd name="T64" fmla="*/ 925 w 993"/>
                <a:gd name="T65" fmla="*/ 1518 h 1697"/>
                <a:gd name="T66" fmla="*/ 890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890" y="1697"/>
                  </a:moveTo>
                  <a:lnTo>
                    <a:pt x="820" y="1637"/>
                  </a:lnTo>
                  <a:lnTo>
                    <a:pt x="693" y="1519"/>
                  </a:lnTo>
                  <a:lnTo>
                    <a:pt x="577" y="1404"/>
                  </a:lnTo>
                  <a:lnTo>
                    <a:pt x="472" y="1289"/>
                  </a:lnTo>
                  <a:lnTo>
                    <a:pt x="378" y="1177"/>
                  </a:lnTo>
                  <a:lnTo>
                    <a:pt x="297" y="1068"/>
                  </a:lnTo>
                  <a:lnTo>
                    <a:pt x="224" y="961"/>
                  </a:lnTo>
                  <a:lnTo>
                    <a:pt x="163" y="858"/>
                  </a:lnTo>
                  <a:lnTo>
                    <a:pt x="113" y="759"/>
                  </a:lnTo>
                  <a:lnTo>
                    <a:pt x="71" y="664"/>
                  </a:lnTo>
                  <a:lnTo>
                    <a:pt x="40" y="573"/>
                  </a:lnTo>
                  <a:lnTo>
                    <a:pt x="18" y="488"/>
                  </a:lnTo>
                  <a:lnTo>
                    <a:pt x="5" y="406"/>
                  </a:lnTo>
                  <a:lnTo>
                    <a:pt x="0" y="331"/>
                  </a:lnTo>
                  <a:lnTo>
                    <a:pt x="5" y="261"/>
                  </a:lnTo>
                  <a:lnTo>
                    <a:pt x="17" y="199"/>
                  </a:lnTo>
                  <a:lnTo>
                    <a:pt x="27" y="169"/>
                  </a:lnTo>
                  <a:lnTo>
                    <a:pt x="41" y="131"/>
                  </a:lnTo>
                  <a:lnTo>
                    <a:pt x="84" y="69"/>
                  </a:lnTo>
                  <a:lnTo>
                    <a:pt x="139" y="26"/>
                  </a:lnTo>
                  <a:lnTo>
                    <a:pt x="202" y="3"/>
                  </a:lnTo>
                  <a:lnTo>
                    <a:pt x="237" y="0"/>
                  </a:lnTo>
                  <a:lnTo>
                    <a:pt x="279" y="2"/>
                  </a:lnTo>
                  <a:lnTo>
                    <a:pt x="358" y="16"/>
                  </a:lnTo>
                  <a:lnTo>
                    <a:pt x="432" y="46"/>
                  </a:lnTo>
                  <a:lnTo>
                    <a:pt x="498" y="90"/>
                  </a:lnTo>
                  <a:lnTo>
                    <a:pt x="529" y="118"/>
                  </a:lnTo>
                  <a:lnTo>
                    <a:pt x="550" y="139"/>
                  </a:lnTo>
                  <a:lnTo>
                    <a:pt x="587" y="187"/>
                  </a:lnTo>
                  <a:lnTo>
                    <a:pt x="620" y="241"/>
                  </a:lnTo>
                  <a:lnTo>
                    <a:pt x="648" y="300"/>
                  </a:lnTo>
                  <a:lnTo>
                    <a:pt x="671" y="363"/>
                  </a:lnTo>
                  <a:lnTo>
                    <a:pt x="688" y="429"/>
                  </a:lnTo>
                  <a:lnTo>
                    <a:pt x="701" y="499"/>
                  </a:lnTo>
                  <a:lnTo>
                    <a:pt x="708" y="572"/>
                  </a:lnTo>
                  <a:lnTo>
                    <a:pt x="708" y="608"/>
                  </a:lnTo>
                  <a:lnTo>
                    <a:pt x="548" y="608"/>
                  </a:lnTo>
                  <a:lnTo>
                    <a:pt x="547" y="551"/>
                  </a:lnTo>
                  <a:lnTo>
                    <a:pt x="529" y="442"/>
                  </a:lnTo>
                  <a:lnTo>
                    <a:pt x="495" y="345"/>
                  </a:lnTo>
                  <a:lnTo>
                    <a:pt x="446" y="263"/>
                  </a:lnTo>
                  <a:lnTo>
                    <a:pt x="417" y="231"/>
                  </a:lnTo>
                  <a:lnTo>
                    <a:pt x="398" y="214"/>
                  </a:lnTo>
                  <a:lnTo>
                    <a:pt x="358" y="187"/>
                  </a:lnTo>
                  <a:lnTo>
                    <a:pt x="312" y="169"/>
                  </a:lnTo>
                  <a:lnTo>
                    <a:pt x="266" y="161"/>
                  </a:lnTo>
                  <a:lnTo>
                    <a:pt x="240" y="160"/>
                  </a:lnTo>
                  <a:lnTo>
                    <a:pt x="228" y="161"/>
                  </a:lnTo>
                  <a:lnTo>
                    <a:pt x="207" y="173"/>
                  </a:lnTo>
                  <a:lnTo>
                    <a:pt x="185" y="201"/>
                  </a:lnTo>
                  <a:lnTo>
                    <a:pt x="176" y="223"/>
                  </a:lnTo>
                  <a:lnTo>
                    <a:pt x="170" y="243"/>
                  </a:lnTo>
                  <a:lnTo>
                    <a:pt x="162" y="288"/>
                  </a:lnTo>
                  <a:lnTo>
                    <a:pt x="161" y="341"/>
                  </a:lnTo>
                  <a:lnTo>
                    <a:pt x="165" y="399"/>
                  </a:lnTo>
                  <a:lnTo>
                    <a:pt x="185" y="501"/>
                  </a:lnTo>
                  <a:lnTo>
                    <a:pt x="241" y="656"/>
                  </a:lnTo>
                  <a:lnTo>
                    <a:pt x="307" y="787"/>
                  </a:lnTo>
                  <a:lnTo>
                    <a:pt x="362" y="879"/>
                  </a:lnTo>
                  <a:lnTo>
                    <a:pt x="428" y="976"/>
                  </a:lnTo>
                  <a:lnTo>
                    <a:pt x="504" y="1079"/>
                  </a:lnTo>
                  <a:lnTo>
                    <a:pt x="591" y="1184"/>
                  </a:lnTo>
                  <a:lnTo>
                    <a:pt x="691" y="1291"/>
                  </a:lnTo>
                  <a:lnTo>
                    <a:pt x="801" y="1403"/>
                  </a:lnTo>
                  <a:lnTo>
                    <a:pt x="925" y="1518"/>
                  </a:lnTo>
                  <a:lnTo>
                    <a:pt x="993" y="1576"/>
                  </a:lnTo>
                  <a:lnTo>
                    <a:pt x="890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2C17A24B-BD11-49EB-9224-F4FA8B4A7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540001"/>
              <a:ext cx="393700" cy="673100"/>
            </a:xfrm>
            <a:custGeom>
              <a:avLst/>
              <a:gdLst>
                <a:gd name="T0" fmla="*/ 0 w 993"/>
                <a:gd name="T1" fmla="*/ 1576 h 1697"/>
                <a:gd name="T2" fmla="*/ 192 w 993"/>
                <a:gd name="T3" fmla="*/ 1403 h 1697"/>
                <a:gd name="T4" fmla="*/ 401 w 993"/>
                <a:gd name="T5" fmla="*/ 1184 h 1697"/>
                <a:gd name="T6" fmla="*/ 565 w 993"/>
                <a:gd name="T7" fmla="*/ 976 h 1697"/>
                <a:gd name="T8" fmla="*/ 685 w 993"/>
                <a:gd name="T9" fmla="*/ 787 h 1697"/>
                <a:gd name="T10" fmla="*/ 807 w 993"/>
                <a:gd name="T11" fmla="*/ 501 h 1697"/>
                <a:gd name="T12" fmla="*/ 832 w 993"/>
                <a:gd name="T13" fmla="*/ 341 h 1697"/>
                <a:gd name="T14" fmla="*/ 823 w 993"/>
                <a:gd name="T15" fmla="*/ 243 h 1697"/>
                <a:gd name="T16" fmla="*/ 807 w 993"/>
                <a:gd name="T17" fmla="*/ 201 h 1697"/>
                <a:gd name="T18" fmla="*/ 764 w 993"/>
                <a:gd name="T19" fmla="*/ 161 h 1697"/>
                <a:gd name="T20" fmla="*/ 727 w 993"/>
                <a:gd name="T21" fmla="*/ 161 h 1697"/>
                <a:gd name="T22" fmla="*/ 635 w 993"/>
                <a:gd name="T23" fmla="*/ 187 h 1697"/>
                <a:gd name="T24" fmla="*/ 575 w 993"/>
                <a:gd name="T25" fmla="*/ 231 h 1697"/>
                <a:gd name="T26" fmla="*/ 497 w 993"/>
                <a:gd name="T27" fmla="*/ 345 h 1697"/>
                <a:gd name="T28" fmla="*/ 446 w 993"/>
                <a:gd name="T29" fmla="*/ 551 h 1697"/>
                <a:gd name="T30" fmla="*/ 285 w 993"/>
                <a:gd name="T31" fmla="*/ 608 h 1697"/>
                <a:gd name="T32" fmla="*/ 291 w 993"/>
                <a:gd name="T33" fmla="*/ 499 h 1697"/>
                <a:gd name="T34" fmla="*/ 321 w 993"/>
                <a:gd name="T35" fmla="*/ 363 h 1697"/>
                <a:gd name="T36" fmla="*/ 373 w 993"/>
                <a:gd name="T37" fmla="*/ 241 h 1697"/>
                <a:gd name="T38" fmla="*/ 443 w 993"/>
                <a:gd name="T39" fmla="*/ 139 h 1697"/>
                <a:gd name="T40" fmla="*/ 495 w 993"/>
                <a:gd name="T41" fmla="*/ 90 h 1697"/>
                <a:gd name="T42" fmla="*/ 635 w 993"/>
                <a:gd name="T43" fmla="*/ 16 h 1697"/>
                <a:gd name="T44" fmla="*/ 755 w 993"/>
                <a:gd name="T45" fmla="*/ 0 h 1697"/>
                <a:gd name="T46" fmla="*/ 854 w 993"/>
                <a:gd name="T47" fmla="*/ 26 h 1697"/>
                <a:gd name="T48" fmla="*/ 951 w 993"/>
                <a:gd name="T49" fmla="*/ 131 h 1697"/>
                <a:gd name="T50" fmla="*/ 976 w 993"/>
                <a:gd name="T51" fmla="*/ 199 h 1697"/>
                <a:gd name="T52" fmla="*/ 993 w 993"/>
                <a:gd name="T53" fmla="*/ 331 h 1697"/>
                <a:gd name="T54" fmla="*/ 974 w 993"/>
                <a:gd name="T55" fmla="*/ 488 h 1697"/>
                <a:gd name="T56" fmla="*/ 921 w 993"/>
                <a:gd name="T57" fmla="*/ 664 h 1697"/>
                <a:gd name="T58" fmla="*/ 829 w 993"/>
                <a:gd name="T59" fmla="*/ 858 h 1697"/>
                <a:gd name="T60" fmla="*/ 696 w 993"/>
                <a:gd name="T61" fmla="*/ 1068 h 1697"/>
                <a:gd name="T62" fmla="*/ 521 w 993"/>
                <a:gd name="T63" fmla="*/ 1289 h 1697"/>
                <a:gd name="T64" fmla="*/ 300 w 993"/>
                <a:gd name="T65" fmla="*/ 1519 h 1697"/>
                <a:gd name="T66" fmla="*/ 102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102" y="1697"/>
                  </a:moveTo>
                  <a:lnTo>
                    <a:pt x="0" y="1576"/>
                  </a:lnTo>
                  <a:lnTo>
                    <a:pt x="67" y="1518"/>
                  </a:lnTo>
                  <a:lnTo>
                    <a:pt x="192" y="1403"/>
                  </a:lnTo>
                  <a:lnTo>
                    <a:pt x="303" y="1291"/>
                  </a:lnTo>
                  <a:lnTo>
                    <a:pt x="401" y="1184"/>
                  </a:lnTo>
                  <a:lnTo>
                    <a:pt x="488" y="1079"/>
                  </a:lnTo>
                  <a:lnTo>
                    <a:pt x="565" y="976"/>
                  </a:lnTo>
                  <a:lnTo>
                    <a:pt x="631" y="879"/>
                  </a:lnTo>
                  <a:lnTo>
                    <a:pt x="685" y="787"/>
                  </a:lnTo>
                  <a:lnTo>
                    <a:pt x="751" y="656"/>
                  </a:lnTo>
                  <a:lnTo>
                    <a:pt x="807" y="501"/>
                  </a:lnTo>
                  <a:lnTo>
                    <a:pt x="828" y="399"/>
                  </a:lnTo>
                  <a:lnTo>
                    <a:pt x="832" y="341"/>
                  </a:lnTo>
                  <a:lnTo>
                    <a:pt x="830" y="288"/>
                  </a:lnTo>
                  <a:lnTo>
                    <a:pt x="823" y="243"/>
                  </a:lnTo>
                  <a:lnTo>
                    <a:pt x="816" y="223"/>
                  </a:lnTo>
                  <a:lnTo>
                    <a:pt x="807" y="201"/>
                  </a:lnTo>
                  <a:lnTo>
                    <a:pt x="785" y="173"/>
                  </a:lnTo>
                  <a:lnTo>
                    <a:pt x="764" y="161"/>
                  </a:lnTo>
                  <a:lnTo>
                    <a:pt x="753" y="160"/>
                  </a:lnTo>
                  <a:lnTo>
                    <a:pt x="727" y="161"/>
                  </a:lnTo>
                  <a:lnTo>
                    <a:pt x="679" y="169"/>
                  </a:lnTo>
                  <a:lnTo>
                    <a:pt x="635" y="187"/>
                  </a:lnTo>
                  <a:lnTo>
                    <a:pt x="595" y="214"/>
                  </a:lnTo>
                  <a:lnTo>
                    <a:pt x="575" y="231"/>
                  </a:lnTo>
                  <a:lnTo>
                    <a:pt x="547" y="263"/>
                  </a:lnTo>
                  <a:lnTo>
                    <a:pt x="497" y="345"/>
                  </a:lnTo>
                  <a:lnTo>
                    <a:pt x="464" y="442"/>
                  </a:lnTo>
                  <a:lnTo>
                    <a:pt x="446" y="551"/>
                  </a:lnTo>
                  <a:lnTo>
                    <a:pt x="444" y="608"/>
                  </a:lnTo>
                  <a:lnTo>
                    <a:pt x="285" y="608"/>
                  </a:lnTo>
                  <a:lnTo>
                    <a:pt x="285" y="572"/>
                  </a:lnTo>
                  <a:lnTo>
                    <a:pt x="291" y="499"/>
                  </a:lnTo>
                  <a:lnTo>
                    <a:pt x="304" y="429"/>
                  </a:lnTo>
                  <a:lnTo>
                    <a:pt x="321" y="363"/>
                  </a:lnTo>
                  <a:lnTo>
                    <a:pt x="344" y="300"/>
                  </a:lnTo>
                  <a:lnTo>
                    <a:pt x="373" y="241"/>
                  </a:lnTo>
                  <a:lnTo>
                    <a:pt x="405" y="187"/>
                  </a:lnTo>
                  <a:lnTo>
                    <a:pt x="443" y="139"/>
                  </a:lnTo>
                  <a:lnTo>
                    <a:pt x="464" y="118"/>
                  </a:lnTo>
                  <a:lnTo>
                    <a:pt x="495" y="90"/>
                  </a:lnTo>
                  <a:lnTo>
                    <a:pt x="561" y="46"/>
                  </a:lnTo>
                  <a:lnTo>
                    <a:pt x="635" y="16"/>
                  </a:lnTo>
                  <a:lnTo>
                    <a:pt x="714" y="2"/>
                  </a:lnTo>
                  <a:lnTo>
                    <a:pt x="755" y="0"/>
                  </a:lnTo>
                  <a:lnTo>
                    <a:pt x="790" y="3"/>
                  </a:lnTo>
                  <a:lnTo>
                    <a:pt x="854" y="26"/>
                  </a:lnTo>
                  <a:lnTo>
                    <a:pt x="908" y="69"/>
                  </a:lnTo>
                  <a:lnTo>
                    <a:pt x="951" y="131"/>
                  </a:lnTo>
                  <a:lnTo>
                    <a:pt x="965" y="169"/>
                  </a:lnTo>
                  <a:lnTo>
                    <a:pt x="976" y="199"/>
                  </a:lnTo>
                  <a:lnTo>
                    <a:pt x="987" y="261"/>
                  </a:lnTo>
                  <a:lnTo>
                    <a:pt x="993" y="331"/>
                  </a:lnTo>
                  <a:lnTo>
                    <a:pt x="987" y="406"/>
                  </a:lnTo>
                  <a:lnTo>
                    <a:pt x="974" y="488"/>
                  </a:lnTo>
                  <a:lnTo>
                    <a:pt x="952" y="573"/>
                  </a:lnTo>
                  <a:lnTo>
                    <a:pt x="921" y="664"/>
                  </a:lnTo>
                  <a:lnTo>
                    <a:pt x="880" y="759"/>
                  </a:lnTo>
                  <a:lnTo>
                    <a:pt x="829" y="858"/>
                  </a:lnTo>
                  <a:lnTo>
                    <a:pt x="768" y="961"/>
                  </a:lnTo>
                  <a:lnTo>
                    <a:pt x="696" y="1068"/>
                  </a:lnTo>
                  <a:lnTo>
                    <a:pt x="614" y="1177"/>
                  </a:lnTo>
                  <a:lnTo>
                    <a:pt x="521" y="1289"/>
                  </a:lnTo>
                  <a:lnTo>
                    <a:pt x="416" y="1404"/>
                  </a:lnTo>
                  <a:lnTo>
                    <a:pt x="300" y="1519"/>
                  </a:lnTo>
                  <a:lnTo>
                    <a:pt x="172" y="1637"/>
                  </a:lnTo>
                  <a:lnTo>
                    <a:pt x="102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6" name="Freeform 116">
              <a:extLst>
                <a:ext uri="{FF2B5EF4-FFF2-40B4-BE49-F238E27FC236}">
                  <a16:creationId xmlns:a16="http://schemas.microsoft.com/office/drawing/2014/main" id="{E9F7A411-F89A-40AF-B882-D161C24B0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938" y="3219451"/>
              <a:ext cx="268288" cy="331788"/>
            </a:xfrm>
            <a:custGeom>
              <a:avLst/>
              <a:gdLst>
                <a:gd name="T0" fmla="*/ 578 w 673"/>
                <a:gd name="T1" fmla="*/ 417 h 834"/>
                <a:gd name="T2" fmla="*/ 579 w 673"/>
                <a:gd name="T3" fmla="*/ 473 h 834"/>
                <a:gd name="T4" fmla="*/ 591 w 673"/>
                <a:gd name="T5" fmla="*/ 582 h 834"/>
                <a:gd name="T6" fmla="*/ 616 w 673"/>
                <a:gd name="T7" fmla="*/ 687 h 834"/>
                <a:gd name="T8" fmla="*/ 651 w 673"/>
                <a:gd name="T9" fmla="*/ 787 h 834"/>
                <a:gd name="T10" fmla="*/ 673 w 673"/>
                <a:gd name="T11" fmla="*/ 834 h 834"/>
                <a:gd name="T12" fmla="*/ 0 w 673"/>
                <a:gd name="T13" fmla="*/ 834 h 834"/>
                <a:gd name="T14" fmla="*/ 22 w 673"/>
                <a:gd name="T15" fmla="*/ 787 h 834"/>
                <a:gd name="T16" fmla="*/ 57 w 673"/>
                <a:gd name="T17" fmla="*/ 687 h 834"/>
                <a:gd name="T18" fmla="*/ 82 w 673"/>
                <a:gd name="T19" fmla="*/ 582 h 834"/>
                <a:gd name="T20" fmla="*/ 93 w 673"/>
                <a:gd name="T21" fmla="*/ 473 h 834"/>
                <a:gd name="T22" fmla="*/ 95 w 673"/>
                <a:gd name="T23" fmla="*/ 417 h 834"/>
                <a:gd name="T24" fmla="*/ 93 w 673"/>
                <a:gd name="T25" fmla="*/ 361 h 834"/>
                <a:gd name="T26" fmla="*/ 82 w 673"/>
                <a:gd name="T27" fmla="*/ 253 h 834"/>
                <a:gd name="T28" fmla="*/ 57 w 673"/>
                <a:gd name="T29" fmla="*/ 148 h 834"/>
                <a:gd name="T30" fmla="*/ 22 w 673"/>
                <a:gd name="T31" fmla="*/ 48 h 834"/>
                <a:gd name="T32" fmla="*/ 0 w 673"/>
                <a:gd name="T33" fmla="*/ 0 h 834"/>
                <a:gd name="T34" fmla="*/ 673 w 673"/>
                <a:gd name="T35" fmla="*/ 0 h 834"/>
                <a:gd name="T36" fmla="*/ 651 w 673"/>
                <a:gd name="T37" fmla="*/ 48 h 834"/>
                <a:gd name="T38" fmla="*/ 616 w 673"/>
                <a:gd name="T39" fmla="*/ 148 h 834"/>
                <a:gd name="T40" fmla="*/ 591 w 673"/>
                <a:gd name="T41" fmla="*/ 253 h 834"/>
                <a:gd name="T42" fmla="*/ 579 w 673"/>
                <a:gd name="T43" fmla="*/ 361 h 834"/>
                <a:gd name="T44" fmla="*/ 578 w 673"/>
                <a:gd name="T45" fmla="*/ 417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3" h="834">
                  <a:moveTo>
                    <a:pt x="578" y="417"/>
                  </a:moveTo>
                  <a:lnTo>
                    <a:pt x="579" y="473"/>
                  </a:lnTo>
                  <a:lnTo>
                    <a:pt x="591" y="582"/>
                  </a:lnTo>
                  <a:lnTo>
                    <a:pt x="616" y="687"/>
                  </a:lnTo>
                  <a:lnTo>
                    <a:pt x="651" y="787"/>
                  </a:lnTo>
                  <a:lnTo>
                    <a:pt x="673" y="834"/>
                  </a:lnTo>
                  <a:lnTo>
                    <a:pt x="0" y="834"/>
                  </a:lnTo>
                  <a:lnTo>
                    <a:pt x="22" y="787"/>
                  </a:lnTo>
                  <a:lnTo>
                    <a:pt x="57" y="687"/>
                  </a:lnTo>
                  <a:lnTo>
                    <a:pt x="82" y="582"/>
                  </a:lnTo>
                  <a:lnTo>
                    <a:pt x="93" y="473"/>
                  </a:lnTo>
                  <a:lnTo>
                    <a:pt x="95" y="417"/>
                  </a:lnTo>
                  <a:lnTo>
                    <a:pt x="93" y="361"/>
                  </a:lnTo>
                  <a:lnTo>
                    <a:pt x="82" y="253"/>
                  </a:lnTo>
                  <a:lnTo>
                    <a:pt x="57" y="148"/>
                  </a:lnTo>
                  <a:lnTo>
                    <a:pt x="22" y="48"/>
                  </a:lnTo>
                  <a:lnTo>
                    <a:pt x="0" y="0"/>
                  </a:lnTo>
                  <a:lnTo>
                    <a:pt x="673" y="0"/>
                  </a:lnTo>
                  <a:lnTo>
                    <a:pt x="651" y="48"/>
                  </a:lnTo>
                  <a:lnTo>
                    <a:pt x="616" y="148"/>
                  </a:lnTo>
                  <a:lnTo>
                    <a:pt x="591" y="253"/>
                  </a:lnTo>
                  <a:lnTo>
                    <a:pt x="579" y="361"/>
                  </a:lnTo>
                  <a:lnTo>
                    <a:pt x="578" y="417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7" name="Freeform 117">
              <a:extLst>
                <a:ext uri="{FF2B5EF4-FFF2-40B4-BE49-F238E27FC236}">
                  <a16:creationId xmlns:a16="http://schemas.microsoft.com/office/drawing/2014/main" id="{A9E643A9-33C0-4C11-B57E-9BDCB4A74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8338" y="2630488"/>
              <a:ext cx="725488" cy="660400"/>
            </a:xfrm>
            <a:custGeom>
              <a:avLst/>
              <a:gdLst>
                <a:gd name="T0" fmla="*/ 0 w 1831"/>
                <a:gd name="T1" fmla="*/ 0 h 1663"/>
                <a:gd name="T2" fmla="*/ 0 w 1831"/>
                <a:gd name="T3" fmla="*/ 748 h 1663"/>
                <a:gd name="T4" fmla="*/ 1 w 1831"/>
                <a:gd name="T5" fmla="*/ 794 h 1663"/>
                <a:gd name="T6" fmla="*/ 10 w 1831"/>
                <a:gd name="T7" fmla="*/ 886 h 1663"/>
                <a:gd name="T8" fmla="*/ 28 w 1831"/>
                <a:gd name="T9" fmla="*/ 976 h 1663"/>
                <a:gd name="T10" fmla="*/ 55 w 1831"/>
                <a:gd name="T11" fmla="*/ 1063 h 1663"/>
                <a:gd name="T12" fmla="*/ 89 w 1831"/>
                <a:gd name="T13" fmla="*/ 1144 h 1663"/>
                <a:gd name="T14" fmla="*/ 132 w 1831"/>
                <a:gd name="T15" fmla="*/ 1222 h 1663"/>
                <a:gd name="T16" fmla="*/ 181 w 1831"/>
                <a:gd name="T17" fmla="*/ 1296 h 1663"/>
                <a:gd name="T18" fmla="*/ 237 w 1831"/>
                <a:gd name="T19" fmla="*/ 1363 h 1663"/>
                <a:gd name="T20" fmla="*/ 299 w 1831"/>
                <a:gd name="T21" fmla="*/ 1425 h 1663"/>
                <a:gd name="T22" fmla="*/ 368 w 1831"/>
                <a:gd name="T23" fmla="*/ 1481 h 1663"/>
                <a:gd name="T24" fmla="*/ 440 w 1831"/>
                <a:gd name="T25" fmla="*/ 1530 h 1663"/>
                <a:gd name="T26" fmla="*/ 518 w 1831"/>
                <a:gd name="T27" fmla="*/ 1573 h 1663"/>
                <a:gd name="T28" fmla="*/ 600 w 1831"/>
                <a:gd name="T29" fmla="*/ 1608 h 1663"/>
                <a:gd name="T30" fmla="*/ 686 w 1831"/>
                <a:gd name="T31" fmla="*/ 1634 h 1663"/>
                <a:gd name="T32" fmla="*/ 776 w 1831"/>
                <a:gd name="T33" fmla="*/ 1652 h 1663"/>
                <a:gd name="T34" fmla="*/ 868 w 1831"/>
                <a:gd name="T35" fmla="*/ 1663 h 1663"/>
                <a:gd name="T36" fmla="*/ 916 w 1831"/>
                <a:gd name="T37" fmla="*/ 1663 h 1663"/>
                <a:gd name="T38" fmla="*/ 963 w 1831"/>
                <a:gd name="T39" fmla="*/ 1663 h 1663"/>
                <a:gd name="T40" fmla="*/ 1055 w 1831"/>
                <a:gd name="T41" fmla="*/ 1652 h 1663"/>
                <a:gd name="T42" fmla="*/ 1144 w 1831"/>
                <a:gd name="T43" fmla="*/ 1634 h 1663"/>
                <a:gd name="T44" fmla="*/ 1231 w 1831"/>
                <a:gd name="T45" fmla="*/ 1608 h 1663"/>
                <a:gd name="T46" fmla="*/ 1312 w 1831"/>
                <a:gd name="T47" fmla="*/ 1573 h 1663"/>
                <a:gd name="T48" fmla="*/ 1390 w 1831"/>
                <a:gd name="T49" fmla="*/ 1530 h 1663"/>
                <a:gd name="T50" fmla="*/ 1463 w 1831"/>
                <a:gd name="T51" fmla="*/ 1481 h 1663"/>
                <a:gd name="T52" fmla="*/ 1532 w 1831"/>
                <a:gd name="T53" fmla="*/ 1425 h 1663"/>
                <a:gd name="T54" fmla="*/ 1594 w 1831"/>
                <a:gd name="T55" fmla="*/ 1363 h 1663"/>
                <a:gd name="T56" fmla="*/ 1649 w 1831"/>
                <a:gd name="T57" fmla="*/ 1296 h 1663"/>
                <a:gd name="T58" fmla="*/ 1699 w 1831"/>
                <a:gd name="T59" fmla="*/ 1222 h 1663"/>
                <a:gd name="T60" fmla="*/ 1742 w 1831"/>
                <a:gd name="T61" fmla="*/ 1144 h 1663"/>
                <a:gd name="T62" fmla="*/ 1777 w 1831"/>
                <a:gd name="T63" fmla="*/ 1063 h 1663"/>
                <a:gd name="T64" fmla="*/ 1802 w 1831"/>
                <a:gd name="T65" fmla="*/ 976 h 1663"/>
                <a:gd name="T66" fmla="*/ 1821 w 1831"/>
                <a:gd name="T67" fmla="*/ 886 h 1663"/>
                <a:gd name="T68" fmla="*/ 1831 w 1831"/>
                <a:gd name="T69" fmla="*/ 794 h 1663"/>
                <a:gd name="T70" fmla="*/ 1831 w 1831"/>
                <a:gd name="T71" fmla="*/ 748 h 1663"/>
                <a:gd name="T72" fmla="*/ 1831 w 1831"/>
                <a:gd name="T73" fmla="*/ 0 h 1663"/>
                <a:gd name="T74" fmla="*/ 0 w 1831"/>
                <a:gd name="T75" fmla="*/ 0 h 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31" h="1663">
                  <a:moveTo>
                    <a:pt x="0" y="0"/>
                  </a:moveTo>
                  <a:lnTo>
                    <a:pt x="0" y="748"/>
                  </a:lnTo>
                  <a:lnTo>
                    <a:pt x="1" y="794"/>
                  </a:lnTo>
                  <a:lnTo>
                    <a:pt x="10" y="886"/>
                  </a:lnTo>
                  <a:lnTo>
                    <a:pt x="28" y="976"/>
                  </a:lnTo>
                  <a:lnTo>
                    <a:pt x="55" y="1063"/>
                  </a:lnTo>
                  <a:lnTo>
                    <a:pt x="89" y="1144"/>
                  </a:lnTo>
                  <a:lnTo>
                    <a:pt x="132" y="1222"/>
                  </a:lnTo>
                  <a:lnTo>
                    <a:pt x="181" y="1296"/>
                  </a:lnTo>
                  <a:lnTo>
                    <a:pt x="237" y="1363"/>
                  </a:lnTo>
                  <a:lnTo>
                    <a:pt x="299" y="1425"/>
                  </a:lnTo>
                  <a:lnTo>
                    <a:pt x="368" y="1481"/>
                  </a:lnTo>
                  <a:lnTo>
                    <a:pt x="440" y="1530"/>
                  </a:lnTo>
                  <a:lnTo>
                    <a:pt x="518" y="1573"/>
                  </a:lnTo>
                  <a:lnTo>
                    <a:pt x="600" y="1608"/>
                  </a:lnTo>
                  <a:lnTo>
                    <a:pt x="686" y="1634"/>
                  </a:lnTo>
                  <a:lnTo>
                    <a:pt x="776" y="1652"/>
                  </a:lnTo>
                  <a:lnTo>
                    <a:pt x="868" y="1663"/>
                  </a:lnTo>
                  <a:lnTo>
                    <a:pt x="916" y="1663"/>
                  </a:lnTo>
                  <a:lnTo>
                    <a:pt x="963" y="1663"/>
                  </a:lnTo>
                  <a:lnTo>
                    <a:pt x="1055" y="1652"/>
                  </a:lnTo>
                  <a:lnTo>
                    <a:pt x="1144" y="1634"/>
                  </a:lnTo>
                  <a:lnTo>
                    <a:pt x="1231" y="1608"/>
                  </a:lnTo>
                  <a:lnTo>
                    <a:pt x="1312" y="1573"/>
                  </a:lnTo>
                  <a:lnTo>
                    <a:pt x="1390" y="1530"/>
                  </a:lnTo>
                  <a:lnTo>
                    <a:pt x="1463" y="1481"/>
                  </a:lnTo>
                  <a:lnTo>
                    <a:pt x="1532" y="1425"/>
                  </a:lnTo>
                  <a:lnTo>
                    <a:pt x="1594" y="1363"/>
                  </a:lnTo>
                  <a:lnTo>
                    <a:pt x="1649" y="1296"/>
                  </a:lnTo>
                  <a:lnTo>
                    <a:pt x="1699" y="1222"/>
                  </a:lnTo>
                  <a:lnTo>
                    <a:pt x="1742" y="1144"/>
                  </a:lnTo>
                  <a:lnTo>
                    <a:pt x="1777" y="1063"/>
                  </a:lnTo>
                  <a:lnTo>
                    <a:pt x="1802" y="976"/>
                  </a:lnTo>
                  <a:lnTo>
                    <a:pt x="1821" y="886"/>
                  </a:lnTo>
                  <a:lnTo>
                    <a:pt x="1831" y="794"/>
                  </a:lnTo>
                  <a:lnTo>
                    <a:pt x="1831" y="748"/>
                  </a:lnTo>
                  <a:lnTo>
                    <a:pt x="18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s-CO" sz="1400"/>
                <a:t>Decisión asertiva</a:t>
              </a:r>
            </a:p>
          </p:txBody>
        </p:sp>
        <p:sp>
          <p:nvSpPr>
            <p:cNvPr id="38" name="Freeform 118">
              <a:extLst>
                <a:ext uri="{FF2B5EF4-FFF2-40B4-BE49-F238E27FC236}">
                  <a16:creationId xmlns:a16="http://schemas.microsoft.com/office/drawing/2014/main" id="{708D3005-5E4B-42D6-B21C-45BA9903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495676"/>
              <a:ext cx="404813" cy="203200"/>
            </a:xfrm>
            <a:custGeom>
              <a:avLst/>
              <a:gdLst>
                <a:gd name="T0" fmla="*/ 1020 w 1020"/>
                <a:gd name="T1" fmla="*/ 510 h 510"/>
                <a:gd name="T2" fmla="*/ 1019 w 1020"/>
                <a:gd name="T3" fmla="*/ 459 h 510"/>
                <a:gd name="T4" fmla="*/ 998 w 1020"/>
                <a:gd name="T5" fmla="*/ 359 h 510"/>
                <a:gd name="T6" fmla="*/ 959 w 1020"/>
                <a:gd name="T7" fmla="*/ 267 h 510"/>
                <a:gd name="T8" fmla="*/ 905 w 1020"/>
                <a:gd name="T9" fmla="*/ 185 h 510"/>
                <a:gd name="T10" fmla="*/ 835 w 1020"/>
                <a:gd name="T11" fmla="*/ 116 h 510"/>
                <a:gd name="T12" fmla="*/ 753 w 1020"/>
                <a:gd name="T13" fmla="*/ 61 h 510"/>
                <a:gd name="T14" fmla="*/ 663 w 1020"/>
                <a:gd name="T15" fmla="*/ 22 h 510"/>
                <a:gd name="T16" fmla="*/ 563 w 1020"/>
                <a:gd name="T17" fmla="*/ 2 h 510"/>
                <a:gd name="T18" fmla="*/ 511 w 1020"/>
                <a:gd name="T19" fmla="*/ 0 h 510"/>
                <a:gd name="T20" fmla="*/ 458 w 1020"/>
                <a:gd name="T21" fmla="*/ 2 h 510"/>
                <a:gd name="T22" fmla="*/ 358 w 1020"/>
                <a:gd name="T23" fmla="*/ 22 h 510"/>
                <a:gd name="T24" fmla="*/ 267 w 1020"/>
                <a:gd name="T25" fmla="*/ 61 h 510"/>
                <a:gd name="T26" fmla="*/ 186 w 1020"/>
                <a:gd name="T27" fmla="*/ 116 h 510"/>
                <a:gd name="T28" fmla="*/ 116 w 1020"/>
                <a:gd name="T29" fmla="*/ 185 h 510"/>
                <a:gd name="T30" fmla="*/ 61 w 1020"/>
                <a:gd name="T31" fmla="*/ 267 h 510"/>
                <a:gd name="T32" fmla="*/ 22 w 1020"/>
                <a:gd name="T33" fmla="*/ 359 h 510"/>
                <a:gd name="T34" fmla="*/ 2 w 1020"/>
                <a:gd name="T35" fmla="*/ 459 h 510"/>
                <a:gd name="T36" fmla="*/ 0 w 1020"/>
                <a:gd name="T37" fmla="*/ 510 h 510"/>
                <a:gd name="T38" fmla="*/ 1020 w 1020"/>
                <a:gd name="T3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0" h="510">
                  <a:moveTo>
                    <a:pt x="1020" y="510"/>
                  </a:moveTo>
                  <a:lnTo>
                    <a:pt x="1019" y="459"/>
                  </a:lnTo>
                  <a:lnTo>
                    <a:pt x="998" y="359"/>
                  </a:lnTo>
                  <a:lnTo>
                    <a:pt x="959" y="267"/>
                  </a:lnTo>
                  <a:lnTo>
                    <a:pt x="905" y="185"/>
                  </a:lnTo>
                  <a:lnTo>
                    <a:pt x="835" y="116"/>
                  </a:lnTo>
                  <a:lnTo>
                    <a:pt x="753" y="61"/>
                  </a:lnTo>
                  <a:lnTo>
                    <a:pt x="663" y="22"/>
                  </a:lnTo>
                  <a:lnTo>
                    <a:pt x="563" y="2"/>
                  </a:lnTo>
                  <a:lnTo>
                    <a:pt x="511" y="0"/>
                  </a:lnTo>
                  <a:lnTo>
                    <a:pt x="458" y="2"/>
                  </a:lnTo>
                  <a:lnTo>
                    <a:pt x="358" y="22"/>
                  </a:lnTo>
                  <a:lnTo>
                    <a:pt x="267" y="61"/>
                  </a:lnTo>
                  <a:lnTo>
                    <a:pt x="186" y="116"/>
                  </a:lnTo>
                  <a:lnTo>
                    <a:pt x="116" y="185"/>
                  </a:lnTo>
                  <a:lnTo>
                    <a:pt x="61" y="267"/>
                  </a:lnTo>
                  <a:lnTo>
                    <a:pt x="22" y="359"/>
                  </a:lnTo>
                  <a:lnTo>
                    <a:pt x="2" y="459"/>
                  </a:lnTo>
                  <a:lnTo>
                    <a:pt x="0" y="510"/>
                  </a:lnTo>
                  <a:lnTo>
                    <a:pt x="1020" y="510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9" name="Rectangle 119">
              <a:extLst>
                <a:ext uri="{FF2B5EF4-FFF2-40B4-BE49-F238E27FC236}">
                  <a16:creationId xmlns:a16="http://schemas.microsoft.com/office/drawing/2014/main" id="{D762C4B6-91A8-41DD-8C6F-395C608E7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8176" y="3978276"/>
              <a:ext cx="785813" cy="101600"/>
            </a:xfrm>
            <a:prstGeom prst="rect">
              <a:avLst/>
            </a:pr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0" name="Rectangle 120">
              <a:extLst>
                <a:ext uri="{FF2B5EF4-FFF2-40B4-BE49-F238E27FC236}">
                  <a16:creationId xmlns:a16="http://schemas.microsoft.com/office/drawing/2014/main" id="{A83032BF-3B85-4CFA-A16B-3DB3F0475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3678238"/>
              <a:ext cx="617538" cy="300038"/>
            </a:xfrm>
            <a:prstGeom prst="rect">
              <a:avLst/>
            </a:pr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1" name="Freeform 121">
              <a:extLst>
                <a:ext uri="{FF2B5EF4-FFF2-40B4-BE49-F238E27FC236}">
                  <a16:creationId xmlns:a16="http://schemas.microsoft.com/office/drawing/2014/main" id="{4A342096-8E02-4924-BFF0-0D3F1169C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733801"/>
              <a:ext cx="404813" cy="188913"/>
            </a:xfrm>
            <a:custGeom>
              <a:avLst/>
              <a:gdLst>
                <a:gd name="T0" fmla="*/ 919 w 1020"/>
                <a:gd name="T1" fmla="*/ 473 h 473"/>
                <a:gd name="T2" fmla="*/ 101 w 1020"/>
                <a:gd name="T3" fmla="*/ 473 h 473"/>
                <a:gd name="T4" fmla="*/ 100 w 1020"/>
                <a:gd name="T5" fmla="*/ 452 h 473"/>
                <a:gd name="T6" fmla="*/ 84 w 1020"/>
                <a:gd name="T7" fmla="*/ 416 h 473"/>
                <a:gd name="T8" fmla="*/ 57 w 1020"/>
                <a:gd name="T9" fmla="*/ 389 h 473"/>
                <a:gd name="T10" fmla="*/ 21 w 1020"/>
                <a:gd name="T11" fmla="*/ 373 h 473"/>
                <a:gd name="T12" fmla="*/ 0 w 1020"/>
                <a:gd name="T13" fmla="*/ 372 h 473"/>
                <a:gd name="T14" fmla="*/ 0 w 1020"/>
                <a:gd name="T15" fmla="*/ 101 h 473"/>
                <a:gd name="T16" fmla="*/ 21 w 1020"/>
                <a:gd name="T17" fmla="*/ 98 h 473"/>
                <a:gd name="T18" fmla="*/ 57 w 1020"/>
                <a:gd name="T19" fmla="*/ 84 h 473"/>
                <a:gd name="T20" fmla="*/ 84 w 1020"/>
                <a:gd name="T21" fmla="*/ 56 h 473"/>
                <a:gd name="T22" fmla="*/ 100 w 1020"/>
                <a:gd name="T23" fmla="*/ 19 h 473"/>
                <a:gd name="T24" fmla="*/ 101 w 1020"/>
                <a:gd name="T25" fmla="*/ 0 h 473"/>
                <a:gd name="T26" fmla="*/ 919 w 1020"/>
                <a:gd name="T27" fmla="*/ 0 h 473"/>
                <a:gd name="T28" fmla="*/ 920 w 1020"/>
                <a:gd name="T29" fmla="*/ 19 h 473"/>
                <a:gd name="T30" fmla="*/ 936 w 1020"/>
                <a:gd name="T31" fmla="*/ 56 h 473"/>
                <a:gd name="T32" fmla="*/ 963 w 1020"/>
                <a:gd name="T33" fmla="*/ 84 h 473"/>
                <a:gd name="T34" fmla="*/ 1000 w 1020"/>
                <a:gd name="T35" fmla="*/ 98 h 473"/>
                <a:gd name="T36" fmla="*/ 1020 w 1020"/>
                <a:gd name="T37" fmla="*/ 101 h 473"/>
                <a:gd name="T38" fmla="*/ 1020 w 1020"/>
                <a:gd name="T39" fmla="*/ 236 h 473"/>
                <a:gd name="T40" fmla="*/ 1020 w 1020"/>
                <a:gd name="T41" fmla="*/ 372 h 473"/>
                <a:gd name="T42" fmla="*/ 1000 w 1020"/>
                <a:gd name="T43" fmla="*/ 373 h 473"/>
                <a:gd name="T44" fmla="*/ 963 w 1020"/>
                <a:gd name="T45" fmla="*/ 389 h 473"/>
                <a:gd name="T46" fmla="*/ 936 w 1020"/>
                <a:gd name="T47" fmla="*/ 416 h 473"/>
                <a:gd name="T48" fmla="*/ 920 w 1020"/>
                <a:gd name="T49" fmla="*/ 452 h 473"/>
                <a:gd name="T50" fmla="*/ 919 w 1020"/>
                <a:gd name="T5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0" h="473">
                  <a:moveTo>
                    <a:pt x="919" y="473"/>
                  </a:moveTo>
                  <a:lnTo>
                    <a:pt x="101" y="473"/>
                  </a:lnTo>
                  <a:lnTo>
                    <a:pt x="100" y="452"/>
                  </a:lnTo>
                  <a:lnTo>
                    <a:pt x="84" y="416"/>
                  </a:lnTo>
                  <a:lnTo>
                    <a:pt x="57" y="389"/>
                  </a:lnTo>
                  <a:lnTo>
                    <a:pt x="21" y="373"/>
                  </a:lnTo>
                  <a:lnTo>
                    <a:pt x="0" y="372"/>
                  </a:lnTo>
                  <a:lnTo>
                    <a:pt x="0" y="101"/>
                  </a:lnTo>
                  <a:lnTo>
                    <a:pt x="21" y="98"/>
                  </a:lnTo>
                  <a:lnTo>
                    <a:pt x="57" y="84"/>
                  </a:lnTo>
                  <a:lnTo>
                    <a:pt x="84" y="56"/>
                  </a:lnTo>
                  <a:lnTo>
                    <a:pt x="100" y="19"/>
                  </a:lnTo>
                  <a:lnTo>
                    <a:pt x="101" y="0"/>
                  </a:lnTo>
                  <a:lnTo>
                    <a:pt x="919" y="0"/>
                  </a:lnTo>
                  <a:lnTo>
                    <a:pt x="920" y="19"/>
                  </a:lnTo>
                  <a:lnTo>
                    <a:pt x="936" y="56"/>
                  </a:lnTo>
                  <a:lnTo>
                    <a:pt x="963" y="84"/>
                  </a:lnTo>
                  <a:lnTo>
                    <a:pt x="1000" y="98"/>
                  </a:lnTo>
                  <a:lnTo>
                    <a:pt x="1020" y="101"/>
                  </a:lnTo>
                  <a:lnTo>
                    <a:pt x="1020" y="236"/>
                  </a:lnTo>
                  <a:lnTo>
                    <a:pt x="1020" y="372"/>
                  </a:lnTo>
                  <a:lnTo>
                    <a:pt x="1000" y="373"/>
                  </a:lnTo>
                  <a:lnTo>
                    <a:pt x="963" y="389"/>
                  </a:lnTo>
                  <a:lnTo>
                    <a:pt x="936" y="416"/>
                  </a:lnTo>
                  <a:lnTo>
                    <a:pt x="920" y="452"/>
                  </a:lnTo>
                  <a:lnTo>
                    <a:pt x="919" y="473"/>
                  </a:lnTo>
                  <a:close/>
                </a:path>
              </a:pathLst>
            </a:cu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</p:grpSp>
      <p:grpSp>
        <p:nvGrpSpPr>
          <p:cNvPr id="42" name="Group 97">
            <a:extLst>
              <a:ext uri="{FF2B5EF4-FFF2-40B4-BE49-F238E27FC236}">
                <a16:creationId xmlns:a16="http://schemas.microsoft.com/office/drawing/2014/main" id="{8E981FAA-77CE-4F2A-A5DC-5CDE95F3D2CC}"/>
              </a:ext>
            </a:extLst>
          </p:cNvPr>
          <p:cNvGrpSpPr/>
          <p:nvPr/>
        </p:nvGrpSpPr>
        <p:grpSpPr>
          <a:xfrm>
            <a:off x="872034" y="4059524"/>
            <a:ext cx="8265258" cy="1940468"/>
            <a:chOff x="1143000" y="2315679"/>
            <a:chExt cx="8436202" cy="3180246"/>
          </a:xfrm>
        </p:grpSpPr>
        <p:grpSp>
          <p:nvGrpSpPr>
            <p:cNvPr id="43" name="Group 71">
              <a:extLst>
                <a:ext uri="{FF2B5EF4-FFF2-40B4-BE49-F238E27FC236}">
                  <a16:creationId xmlns:a16="http://schemas.microsoft.com/office/drawing/2014/main" id="{D2691887-98CE-4727-B080-28C283C42CDC}"/>
                </a:ext>
              </a:extLst>
            </p:cNvPr>
            <p:cNvGrpSpPr/>
            <p:nvPr/>
          </p:nvGrpSpPr>
          <p:grpSpPr>
            <a:xfrm>
              <a:off x="1143000" y="2315679"/>
              <a:ext cx="8436202" cy="3180246"/>
              <a:chOff x="2493141" y="2782404"/>
              <a:chExt cx="7667086" cy="2423160"/>
            </a:xfrm>
          </p:grpSpPr>
          <p:sp>
            <p:nvSpPr>
              <p:cNvPr id="59" name="Freeform 68">
                <a:extLst>
                  <a:ext uri="{FF2B5EF4-FFF2-40B4-BE49-F238E27FC236}">
                    <a16:creationId xmlns:a16="http://schemas.microsoft.com/office/drawing/2014/main" id="{B0240DC6-2737-4621-B3DB-4C10415C85EA}"/>
                  </a:ext>
                </a:extLst>
              </p:cNvPr>
              <p:cNvSpPr/>
              <p:nvPr/>
            </p:nvSpPr>
            <p:spPr>
              <a:xfrm>
                <a:off x="4442380" y="2928227"/>
                <a:ext cx="144084" cy="2130552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Freeform 69">
                <a:extLst>
                  <a:ext uri="{FF2B5EF4-FFF2-40B4-BE49-F238E27FC236}">
                    <a16:creationId xmlns:a16="http://schemas.microsoft.com/office/drawing/2014/main" id="{1E98B0D9-7004-46B9-8451-8C057B00D302}"/>
                  </a:ext>
                </a:extLst>
              </p:cNvPr>
              <p:cNvSpPr/>
              <p:nvPr/>
            </p:nvSpPr>
            <p:spPr>
              <a:xfrm>
                <a:off x="6462712" y="3079525"/>
                <a:ext cx="92717" cy="182880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 70">
                <a:extLst>
                  <a:ext uri="{FF2B5EF4-FFF2-40B4-BE49-F238E27FC236}">
                    <a16:creationId xmlns:a16="http://schemas.microsoft.com/office/drawing/2014/main" id="{63E1E77E-E823-4B95-A066-445C36FFA4AC}"/>
                  </a:ext>
                </a:extLst>
              </p:cNvPr>
              <p:cNvSpPr/>
              <p:nvPr/>
            </p:nvSpPr>
            <p:spPr>
              <a:xfrm>
                <a:off x="8478016" y="3231670"/>
                <a:ext cx="61804" cy="1527048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Pentagon 62">
                <a:extLst>
                  <a:ext uri="{FF2B5EF4-FFF2-40B4-BE49-F238E27FC236}">
                    <a16:creationId xmlns:a16="http://schemas.microsoft.com/office/drawing/2014/main" id="{1AB96CFD-4E64-4D75-86F3-E119B0426024}"/>
                  </a:ext>
                </a:extLst>
              </p:cNvPr>
              <p:cNvSpPr/>
              <p:nvPr/>
            </p:nvSpPr>
            <p:spPr>
              <a:xfrm>
                <a:off x="3576439" y="3820872"/>
                <a:ext cx="968027" cy="345595"/>
              </a:xfrm>
              <a:prstGeom prst="homePlat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3" name="Pentagon 63">
                <a:extLst>
                  <a:ext uri="{FF2B5EF4-FFF2-40B4-BE49-F238E27FC236}">
                    <a16:creationId xmlns:a16="http://schemas.microsoft.com/office/drawing/2014/main" id="{76A818F1-1E2F-4E3E-8E30-5D9FD45711F3}"/>
                  </a:ext>
                </a:extLst>
              </p:cNvPr>
              <p:cNvSpPr/>
              <p:nvPr/>
            </p:nvSpPr>
            <p:spPr>
              <a:xfrm>
                <a:off x="5579534" y="3820872"/>
                <a:ext cx="968027" cy="345595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4" name="Pentagon 64">
                <a:extLst>
                  <a:ext uri="{FF2B5EF4-FFF2-40B4-BE49-F238E27FC236}">
                    <a16:creationId xmlns:a16="http://schemas.microsoft.com/office/drawing/2014/main" id="{56BEB846-3F93-46A4-A1B2-9E80AD2A8550}"/>
                  </a:ext>
                </a:extLst>
              </p:cNvPr>
              <p:cNvSpPr/>
              <p:nvPr/>
            </p:nvSpPr>
            <p:spPr>
              <a:xfrm>
                <a:off x="7558373" y="3820871"/>
                <a:ext cx="968027" cy="345595"/>
              </a:xfrm>
              <a:prstGeom prst="homePlat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5" name="Pentagon 65">
                <a:extLst>
                  <a:ext uri="{FF2B5EF4-FFF2-40B4-BE49-F238E27FC236}">
                    <a16:creationId xmlns:a16="http://schemas.microsoft.com/office/drawing/2014/main" id="{10D32905-0921-4A12-ABDB-0CC6F77DA964}"/>
                  </a:ext>
                </a:extLst>
              </p:cNvPr>
              <p:cNvSpPr/>
              <p:nvPr/>
            </p:nvSpPr>
            <p:spPr>
              <a:xfrm>
                <a:off x="9503838" y="3820871"/>
                <a:ext cx="656389" cy="345595"/>
              </a:xfrm>
              <a:prstGeom prst="homePlat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6" name="Freeform 67">
                <a:extLst>
                  <a:ext uri="{FF2B5EF4-FFF2-40B4-BE49-F238E27FC236}">
                    <a16:creationId xmlns:a16="http://schemas.microsoft.com/office/drawing/2014/main" id="{2C3E7187-2A73-459C-B24B-D6535BAA435A}"/>
                  </a:ext>
                </a:extLst>
              </p:cNvPr>
              <p:cNvSpPr/>
              <p:nvPr/>
            </p:nvSpPr>
            <p:spPr>
              <a:xfrm>
                <a:off x="2493141" y="2782404"/>
                <a:ext cx="144084" cy="242316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58">
                <a:extLst>
                  <a:ext uri="{FF2B5EF4-FFF2-40B4-BE49-F238E27FC236}">
                    <a16:creationId xmlns:a16="http://schemas.microsoft.com/office/drawing/2014/main" id="{93E44472-F58E-45E5-AFC8-82472B7B096C}"/>
                  </a:ext>
                </a:extLst>
              </p:cNvPr>
              <p:cNvSpPr/>
              <p:nvPr/>
            </p:nvSpPr>
            <p:spPr>
              <a:xfrm rot="5400000">
                <a:off x="2116991" y="3278063"/>
                <a:ext cx="2422532" cy="1431220"/>
              </a:xfrm>
              <a:custGeom>
                <a:avLst/>
                <a:gdLst>
                  <a:gd name="connsiteX0" fmla="*/ 0 w 2422532"/>
                  <a:gd name="connsiteY0" fmla="*/ 1031331 h 1031331"/>
                  <a:gd name="connsiteX1" fmla="*/ 72672 w 2422532"/>
                  <a:gd name="connsiteY1" fmla="*/ 63695 h 1031331"/>
                  <a:gd name="connsiteX2" fmla="*/ 96342 w 2422532"/>
                  <a:gd name="connsiteY2" fmla="*/ 60256 h 1031331"/>
                  <a:gd name="connsiteX3" fmla="*/ 1211268 w 2422532"/>
                  <a:gd name="connsiteY3" fmla="*/ 0 h 1031331"/>
                  <a:gd name="connsiteX4" fmla="*/ 2326194 w 2422532"/>
                  <a:gd name="connsiteY4" fmla="*/ 60256 h 1031331"/>
                  <a:gd name="connsiteX5" fmla="*/ 2349860 w 2422532"/>
                  <a:gd name="connsiteY5" fmla="*/ 63694 h 1031331"/>
                  <a:gd name="connsiteX6" fmla="*/ 2422532 w 2422532"/>
                  <a:gd name="connsiteY6" fmla="*/ 1031331 h 1031331"/>
                  <a:gd name="connsiteX7" fmla="*/ 2261543 w 2422532"/>
                  <a:gd name="connsiteY7" fmla="*/ 1011218 h 1031331"/>
                  <a:gd name="connsiteX8" fmla="*/ 1211266 w 2422532"/>
                  <a:gd name="connsiteY8" fmla="*/ 958033 h 1031331"/>
                  <a:gd name="connsiteX9" fmla="*/ 160989 w 2422532"/>
                  <a:gd name="connsiteY9" fmla="*/ 1011218 h 1031331"/>
                  <a:gd name="connsiteX10" fmla="*/ 0 w 2422532"/>
                  <a:gd name="connsiteY10" fmla="*/ 1031331 h 103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22532" h="1031331">
                    <a:moveTo>
                      <a:pt x="0" y="1031331"/>
                    </a:moveTo>
                    <a:lnTo>
                      <a:pt x="72672" y="63695"/>
                    </a:lnTo>
                    <a:lnTo>
                      <a:pt x="96342" y="60256"/>
                    </a:lnTo>
                    <a:cubicBezTo>
                      <a:pt x="439025" y="21456"/>
                      <a:pt x="815787" y="0"/>
                      <a:pt x="1211268" y="0"/>
                    </a:cubicBezTo>
                    <a:cubicBezTo>
                      <a:pt x="1606749" y="0"/>
                      <a:pt x="1983510" y="21456"/>
                      <a:pt x="2326194" y="60256"/>
                    </a:cubicBezTo>
                    <a:lnTo>
                      <a:pt x="2349860" y="63694"/>
                    </a:lnTo>
                    <a:lnTo>
                      <a:pt x="2422532" y="1031331"/>
                    </a:lnTo>
                    <a:lnTo>
                      <a:pt x="2261543" y="1011218"/>
                    </a:lnTo>
                    <a:cubicBezTo>
                      <a:pt x="1936340" y="976890"/>
                      <a:pt x="1582030" y="958033"/>
                      <a:pt x="1211266" y="958033"/>
                    </a:cubicBezTo>
                    <a:cubicBezTo>
                      <a:pt x="840502" y="958033"/>
                      <a:pt x="486192" y="976890"/>
                      <a:pt x="160989" y="1011218"/>
                    </a:cubicBezTo>
                    <a:lnTo>
                      <a:pt x="0" y="1031331"/>
                    </a:lnTo>
                    <a:close/>
                  </a:path>
                </a:pathLst>
              </a:custGeom>
              <a:solidFill>
                <a:schemeClr val="tx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59">
                <a:extLst>
                  <a:ext uri="{FF2B5EF4-FFF2-40B4-BE49-F238E27FC236}">
                    <a16:creationId xmlns:a16="http://schemas.microsoft.com/office/drawing/2014/main" id="{F0D2DA07-073A-4D40-AF3A-2851D484762B}"/>
                  </a:ext>
                </a:extLst>
              </p:cNvPr>
              <p:cNvSpPr/>
              <p:nvPr/>
            </p:nvSpPr>
            <p:spPr>
              <a:xfrm rot="5400000">
                <a:off x="4044516" y="3456221"/>
                <a:ext cx="2130217" cy="1074898"/>
              </a:xfrm>
              <a:custGeom>
                <a:avLst/>
                <a:gdLst>
                  <a:gd name="connsiteX0" fmla="*/ 0 w 2130217"/>
                  <a:gd name="connsiteY0" fmla="*/ 1074898 h 1074898"/>
                  <a:gd name="connsiteX1" fmla="*/ 77137 w 2130217"/>
                  <a:gd name="connsiteY1" fmla="*/ 47817 h 1074898"/>
                  <a:gd name="connsiteX2" fmla="*/ 213347 w 2130217"/>
                  <a:gd name="connsiteY2" fmla="*/ 34472 h 1074898"/>
                  <a:gd name="connsiteX3" fmla="*/ 1065111 w 2130217"/>
                  <a:gd name="connsiteY3" fmla="*/ 0 h 1074898"/>
                  <a:gd name="connsiteX4" fmla="*/ 1916875 w 2130217"/>
                  <a:gd name="connsiteY4" fmla="*/ 34472 h 1074898"/>
                  <a:gd name="connsiteX5" fmla="*/ 2053081 w 2130217"/>
                  <a:gd name="connsiteY5" fmla="*/ 47817 h 1074898"/>
                  <a:gd name="connsiteX6" fmla="*/ 2130217 w 2130217"/>
                  <a:gd name="connsiteY6" fmla="*/ 1074898 h 1074898"/>
                  <a:gd name="connsiteX7" fmla="*/ 2115386 w 2130217"/>
                  <a:gd name="connsiteY7" fmla="*/ 1073045 h 1074898"/>
                  <a:gd name="connsiteX8" fmla="*/ 1065109 w 2130217"/>
                  <a:gd name="connsiteY8" fmla="*/ 1019860 h 1074898"/>
                  <a:gd name="connsiteX9" fmla="*/ 14832 w 2130217"/>
                  <a:gd name="connsiteY9" fmla="*/ 1073045 h 1074898"/>
                  <a:gd name="connsiteX10" fmla="*/ 0 w 2130217"/>
                  <a:gd name="connsiteY10" fmla="*/ 1074898 h 107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30217" h="1074898">
                    <a:moveTo>
                      <a:pt x="0" y="1074898"/>
                    </a:moveTo>
                    <a:lnTo>
                      <a:pt x="77137" y="47817"/>
                    </a:lnTo>
                    <a:lnTo>
                      <a:pt x="213347" y="34472"/>
                    </a:lnTo>
                    <a:cubicBezTo>
                      <a:pt x="482419" y="12069"/>
                      <a:pt x="768500" y="0"/>
                      <a:pt x="1065111" y="0"/>
                    </a:cubicBezTo>
                    <a:cubicBezTo>
                      <a:pt x="1361722" y="0"/>
                      <a:pt x="1647802" y="12069"/>
                      <a:pt x="1916875" y="34472"/>
                    </a:cubicBezTo>
                    <a:lnTo>
                      <a:pt x="2053081" y="47817"/>
                    </a:lnTo>
                    <a:lnTo>
                      <a:pt x="2130217" y="1074898"/>
                    </a:lnTo>
                    <a:lnTo>
                      <a:pt x="2115386" y="1073045"/>
                    </a:lnTo>
                    <a:cubicBezTo>
                      <a:pt x="1790183" y="1038717"/>
                      <a:pt x="1435873" y="1019860"/>
                      <a:pt x="1065109" y="1019860"/>
                    </a:cubicBezTo>
                    <a:cubicBezTo>
                      <a:pt x="694345" y="1019860"/>
                      <a:pt x="340035" y="1038717"/>
                      <a:pt x="14832" y="1073045"/>
                    </a:cubicBezTo>
                    <a:lnTo>
                      <a:pt x="0" y="107489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60">
                <a:extLst>
                  <a:ext uri="{FF2B5EF4-FFF2-40B4-BE49-F238E27FC236}">
                    <a16:creationId xmlns:a16="http://schemas.microsoft.com/office/drawing/2014/main" id="{B121D910-1345-43EA-B78E-95DC149D8530}"/>
                  </a:ext>
                </a:extLst>
              </p:cNvPr>
              <p:cNvSpPr/>
              <p:nvPr/>
            </p:nvSpPr>
            <p:spPr>
              <a:xfrm rot="5400000">
                <a:off x="6185937" y="3468349"/>
                <a:ext cx="1829310" cy="1050642"/>
              </a:xfrm>
              <a:custGeom>
                <a:avLst/>
                <a:gdLst>
                  <a:gd name="connsiteX0" fmla="*/ 0 w 1829310"/>
                  <a:gd name="connsiteY0" fmla="*/ 1050642 h 1050642"/>
                  <a:gd name="connsiteX1" fmla="*/ 76386 w 1829310"/>
                  <a:gd name="connsiteY1" fmla="*/ 33543 h 1050642"/>
                  <a:gd name="connsiteX2" fmla="*/ 337395 w 1829310"/>
                  <a:gd name="connsiteY2" fmla="*/ 15578 h 1050642"/>
                  <a:gd name="connsiteX3" fmla="*/ 914657 w 1829310"/>
                  <a:gd name="connsiteY3" fmla="*/ 0 h 1050642"/>
                  <a:gd name="connsiteX4" fmla="*/ 1491919 w 1829310"/>
                  <a:gd name="connsiteY4" fmla="*/ 15578 h 1050642"/>
                  <a:gd name="connsiteX5" fmla="*/ 1752923 w 1829310"/>
                  <a:gd name="connsiteY5" fmla="*/ 33543 h 1050642"/>
                  <a:gd name="connsiteX6" fmla="*/ 1829310 w 1829310"/>
                  <a:gd name="connsiteY6" fmla="*/ 1050642 h 1050642"/>
                  <a:gd name="connsiteX7" fmla="*/ 1630495 w 1829310"/>
                  <a:gd name="connsiteY7" fmla="*/ 1033376 h 1050642"/>
                  <a:gd name="connsiteX8" fmla="*/ 914655 w 1829310"/>
                  <a:gd name="connsiteY8" fmla="*/ 1009236 h 1050642"/>
                  <a:gd name="connsiteX9" fmla="*/ 198815 w 1829310"/>
                  <a:gd name="connsiteY9" fmla="*/ 1033376 h 1050642"/>
                  <a:gd name="connsiteX10" fmla="*/ 0 w 1829310"/>
                  <a:gd name="connsiteY10" fmla="*/ 1050642 h 10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9310" h="1050642">
                    <a:moveTo>
                      <a:pt x="0" y="1050642"/>
                    </a:moveTo>
                    <a:lnTo>
                      <a:pt x="76386" y="33543"/>
                    </a:lnTo>
                    <a:lnTo>
                      <a:pt x="337395" y="15578"/>
                    </a:lnTo>
                    <a:cubicBezTo>
                      <a:pt x="523855" y="5364"/>
                      <a:pt x="716916" y="0"/>
                      <a:pt x="914657" y="0"/>
                    </a:cubicBezTo>
                    <a:cubicBezTo>
                      <a:pt x="1112397" y="0"/>
                      <a:pt x="1305458" y="5364"/>
                      <a:pt x="1491919" y="15578"/>
                    </a:cubicBezTo>
                    <a:lnTo>
                      <a:pt x="1752923" y="33543"/>
                    </a:lnTo>
                    <a:lnTo>
                      <a:pt x="1829310" y="1050642"/>
                    </a:lnTo>
                    <a:lnTo>
                      <a:pt x="1630495" y="1033376"/>
                    </a:lnTo>
                    <a:cubicBezTo>
                      <a:pt x="1401694" y="1017617"/>
                      <a:pt x="1161831" y="1009236"/>
                      <a:pt x="914655" y="1009236"/>
                    </a:cubicBezTo>
                    <a:cubicBezTo>
                      <a:pt x="667479" y="1009236"/>
                      <a:pt x="427616" y="1017617"/>
                      <a:pt x="198815" y="1033376"/>
                    </a:cubicBezTo>
                    <a:lnTo>
                      <a:pt x="0" y="1050642"/>
                    </a:lnTo>
                    <a:close/>
                  </a:path>
                </a:pathLst>
              </a:custGeom>
              <a:solidFill>
                <a:schemeClr val="accent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61">
                <a:extLst>
                  <a:ext uri="{FF2B5EF4-FFF2-40B4-BE49-F238E27FC236}">
                    <a16:creationId xmlns:a16="http://schemas.microsoft.com/office/drawing/2014/main" id="{3561C933-9F14-4F0B-9166-8C0A7DCB1967}"/>
                  </a:ext>
                </a:extLst>
              </p:cNvPr>
              <p:cNvSpPr/>
              <p:nvPr/>
            </p:nvSpPr>
            <p:spPr>
              <a:xfrm rot="5400000">
                <a:off x="8313198" y="3469534"/>
                <a:ext cx="1530095" cy="1048272"/>
              </a:xfrm>
              <a:custGeom>
                <a:avLst/>
                <a:gdLst>
                  <a:gd name="connsiteX0" fmla="*/ 0 w 1530095"/>
                  <a:gd name="connsiteY0" fmla="*/ 1048272 h 1048272"/>
                  <a:gd name="connsiteX1" fmla="*/ 76985 w 1530095"/>
                  <a:gd name="connsiteY1" fmla="*/ 23205 h 1048272"/>
                  <a:gd name="connsiteX2" fmla="*/ 187788 w 1530095"/>
                  <a:gd name="connsiteY2" fmla="*/ 15578 h 1048272"/>
                  <a:gd name="connsiteX3" fmla="*/ 765050 w 1530095"/>
                  <a:gd name="connsiteY3" fmla="*/ 0 h 1048272"/>
                  <a:gd name="connsiteX4" fmla="*/ 1342312 w 1530095"/>
                  <a:gd name="connsiteY4" fmla="*/ 15578 h 1048272"/>
                  <a:gd name="connsiteX5" fmla="*/ 1453110 w 1530095"/>
                  <a:gd name="connsiteY5" fmla="*/ 23204 h 1048272"/>
                  <a:gd name="connsiteX6" fmla="*/ 1530095 w 1530095"/>
                  <a:gd name="connsiteY6" fmla="*/ 1048272 h 1048272"/>
                  <a:gd name="connsiteX7" fmla="*/ 1480888 w 1530095"/>
                  <a:gd name="connsiteY7" fmla="*/ 1043998 h 1048272"/>
                  <a:gd name="connsiteX8" fmla="*/ 765048 w 1530095"/>
                  <a:gd name="connsiteY8" fmla="*/ 1019858 h 1048272"/>
                  <a:gd name="connsiteX9" fmla="*/ 49208 w 1530095"/>
                  <a:gd name="connsiteY9" fmla="*/ 1043998 h 1048272"/>
                  <a:gd name="connsiteX10" fmla="*/ 0 w 1530095"/>
                  <a:gd name="connsiteY10" fmla="*/ 1048272 h 1048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30095" h="1048272">
                    <a:moveTo>
                      <a:pt x="0" y="1048272"/>
                    </a:moveTo>
                    <a:lnTo>
                      <a:pt x="76985" y="23205"/>
                    </a:lnTo>
                    <a:lnTo>
                      <a:pt x="187788" y="15578"/>
                    </a:lnTo>
                    <a:cubicBezTo>
                      <a:pt x="374248" y="5364"/>
                      <a:pt x="567309" y="0"/>
                      <a:pt x="765050" y="0"/>
                    </a:cubicBezTo>
                    <a:cubicBezTo>
                      <a:pt x="962790" y="0"/>
                      <a:pt x="1155851" y="5364"/>
                      <a:pt x="1342312" y="15578"/>
                    </a:cubicBezTo>
                    <a:lnTo>
                      <a:pt x="1453110" y="23204"/>
                    </a:lnTo>
                    <a:lnTo>
                      <a:pt x="1530095" y="1048272"/>
                    </a:lnTo>
                    <a:lnTo>
                      <a:pt x="1480888" y="1043998"/>
                    </a:lnTo>
                    <a:cubicBezTo>
                      <a:pt x="1252087" y="1028239"/>
                      <a:pt x="1012224" y="1019858"/>
                      <a:pt x="765048" y="1019858"/>
                    </a:cubicBezTo>
                    <a:cubicBezTo>
                      <a:pt x="517872" y="1019858"/>
                      <a:pt x="278009" y="1028239"/>
                      <a:pt x="49208" y="1043998"/>
                    </a:cubicBezTo>
                    <a:lnTo>
                      <a:pt x="0" y="1048272"/>
                    </a:lnTo>
                    <a:close/>
                  </a:path>
                </a:pathLst>
              </a:custGeom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4" name="TextBox 82">
              <a:extLst>
                <a:ext uri="{FF2B5EF4-FFF2-40B4-BE49-F238E27FC236}">
                  <a16:creationId xmlns:a16="http://schemas.microsoft.com/office/drawing/2014/main" id="{31B0BFE2-421C-46B3-83A7-AD5B8A72F6A9}"/>
                </a:ext>
              </a:extLst>
            </p:cNvPr>
            <p:cNvSpPr txBox="1"/>
            <p:nvPr/>
          </p:nvSpPr>
          <p:spPr>
            <a:xfrm>
              <a:off x="1367321" y="3220377"/>
              <a:ext cx="1400171" cy="136192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s-CO" sz="1600">
                  <a:solidFill>
                    <a:schemeClr val="bg1"/>
                  </a:solidFill>
                </a:rPr>
                <a:t>Claridad en documentos corporativos</a:t>
              </a:r>
            </a:p>
          </p:txBody>
        </p:sp>
        <p:sp>
          <p:nvSpPr>
            <p:cNvPr id="45" name="TextBox 83">
              <a:extLst>
                <a:ext uri="{FF2B5EF4-FFF2-40B4-BE49-F238E27FC236}">
                  <a16:creationId xmlns:a16="http://schemas.microsoft.com/office/drawing/2014/main" id="{683E2618-7B62-4887-92D0-DE6E9D28CE26}"/>
                </a:ext>
              </a:extLst>
            </p:cNvPr>
            <p:cNvSpPr txBox="1"/>
            <p:nvPr/>
          </p:nvSpPr>
          <p:spPr>
            <a:xfrm>
              <a:off x="3447610" y="2918759"/>
              <a:ext cx="1058878" cy="216899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>
                  <a:solidFill>
                    <a:schemeClr val="tx1"/>
                  </a:solidFill>
                </a:rPr>
                <a:t>Órganos de toma de decisión claros</a:t>
              </a:r>
            </a:p>
          </p:txBody>
        </p:sp>
        <p:sp>
          <p:nvSpPr>
            <p:cNvPr id="46" name="TextBox 84">
              <a:extLst>
                <a:ext uri="{FF2B5EF4-FFF2-40B4-BE49-F238E27FC236}">
                  <a16:creationId xmlns:a16="http://schemas.microsoft.com/office/drawing/2014/main" id="{8C23E0A2-037D-4634-BC72-4BEA56E15133}"/>
                </a:ext>
              </a:extLst>
            </p:cNvPr>
            <p:cNvSpPr txBox="1"/>
            <p:nvPr/>
          </p:nvSpPr>
          <p:spPr>
            <a:xfrm>
              <a:off x="5588208" y="2989565"/>
              <a:ext cx="1277961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/>
                <a:t>Roles y responsa-</a:t>
              </a:r>
              <a:r>
                <a:rPr lang="es-CO" err="1"/>
                <a:t>bilidades</a:t>
              </a:r>
              <a:r>
                <a:rPr lang="es-CO"/>
                <a:t> definidos</a:t>
              </a:r>
            </a:p>
          </p:txBody>
        </p:sp>
        <p:sp>
          <p:nvSpPr>
            <p:cNvPr id="47" name="TextBox 85">
              <a:extLst>
                <a:ext uri="{FF2B5EF4-FFF2-40B4-BE49-F238E27FC236}">
                  <a16:creationId xmlns:a16="http://schemas.microsoft.com/office/drawing/2014/main" id="{6538A16C-BDC4-434F-9828-22749E2E25AE}"/>
                </a:ext>
              </a:extLst>
            </p:cNvPr>
            <p:cNvSpPr txBox="1"/>
            <p:nvPr/>
          </p:nvSpPr>
          <p:spPr>
            <a:xfrm>
              <a:off x="7777952" y="3018609"/>
              <a:ext cx="1220586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/>
                <a:t>Estructura de relaciona-mient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6612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ángulo 75">
            <a:extLst>
              <a:ext uri="{FF2B5EF4-FFF2-40B4-BE49-F238E27FC236}">
                <a16:creationId xmlns:a16="http://schemas.microsoft.com/office/drawing/2014/main" id="{EEF9D3BD-0FCD-4E3B-A30D-451C7AAF6633}"/>
              </a:ext>
            </a:extLst>
          </p:cNvPr>
          <p:cNvSpPr/>
          <p:nvPr/>
        </p:nvSpPr>
        <p:spPr>
          <a:xfrm>
            <a:off x="273409" y="5078389"/>
            <a:ext cx="3604591" cy="1015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/>
          </a:p>
        </p:txBody>
      </p:sp>
      <p:sp>
        <p:nvSpPr>
          <p:cNvPr id="77" name="Rectángulo: esquinas redondeadas 76">
            <a:extLst>
              <a:ext uri="{FF2B5EF4-FFF2-40B4-BE49-F238E27FC236}">
                <a16:creationId xmlns:a16="http://schemas.microsoft.com/office/drawing/2014/main" id="{44DAAF07-704B-4AD2-9029-4FE6270429E3}"/>
              </a:ext>
            </a:extLst>
          </p:cNvPr>
          <p:cNvSpPr/>
          <p:nvPr/>
        </p:nvSpPr>
        <p:spPr>
          <a:xfrm>
            <a:off x="866279" y="713340"/>
            <a:ext cx="3114261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ACTIVIDAD</a:t>
            </a:r>
          </a:p>
        </p:txBody>
      </p:sp>
      <p:sp>
        <p:nvSpPr>
          <p:cNvPr id="80" name="Rectángulo: esquinas redondeadas 79">
            <a:extLst>
              <a:ext uri="{FF2B5EF4-FFF2-40B4-BE49-F238E27FC236}">
                <a16:creationId xmlns:a16="http://schemas.microsoft.com/office/drawing/2014/main" id="{E4642C6D-F1C3-451F-AEC6-3440A3FD291D}"/>
              </a:ext>
            </a:extLst>
          </p:cNvPr>
          <p:cNvSpPr/>
          <p:nvPr/>
        </p:nvSpPr>
        <p:spPr>
          <a:xfrm>
            <a:off x="4233556" y="71334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URACIÓN</a:t>
            </a:r>
          </a:p>
        </p:txBody>
      </p:sp>
      <p:sp>
        <p:nvSpPr>
          <p:cNvPr id="81" name="Rectángulo: esquinas redondeadas 80">
            <a:extLst>
              <a:ext uri="{FF2B5EF4-FFF2-40B4-BE49-F238E27FC236}">
                <a16:creationId xmlns:a16="http://schemas.microsoft.com/office/drawing/2014/main" id="{646D5B8E-AC08-4AA5-823A-4F62C3888F63}"/>
              </a:ext>
            </a:extLst>
          </p:cNvPr>
          <p:cNvSpPr/>
          <p:nvPr/>
        </p:nvSpPr>
        <p:spPr>
          <a:xfrm>
            <a:off x="6262364" y="713339"/>
            <a:ext cx="2992542" cy="291533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ESCRIPCIÓN</a:t>
            </a:r>
          </a:p>
        </p:txBody>
      </p:sp>
      <p:sp>
        <p:nvSpPr>
          <p:cNvPr id="82" name="Rectángulo: esquinas redondeadas 81">
            <a:extLst>
              <a:ext uri="{FF2B5EF4-FFF2-40B4-BE49-F238E27FC236}">
                <a16:creationId xmlns:a16="http://schemas.microsoft.com/office/drawing/2014/main" id="{8E48A216-4859-4526-9CC2-DFF2DC55EDD5}"/>
              </a:ext>
            </a:extLst>
          </p:cNvPr>
          <p:cNvSpPr/>
          <p:nvPr/>
        </p:nvSpPr>
        <p:spPr>
          <a:xfrm>
            <a:off x="9488044" y="71334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PRODUCTO</a:t>
            </a:r>
          </a:p>
        </p:txBody>
      </p:sp>
      <p:grpSp>
        <p:nvGrpSpPr>
          <p:cNvPr id="87" name="Grupo 86">
            <a:extLst>
              <a:ext uri="{FF2B5EF4-FFF2-40B4-BE49-F238E27FC236}">
                <a16:creationId xmlns:a16="http://schemas.microsoft.com/office/drawing/2014/main" id="{2048A83A-AA05-4B15-BF12-590132B0B976}"/>
              </a:ext>
            </a:extLst>
          </p:cNvPr>
          <p:cNvGrpSpPr/>
          <p:nvPr/>
        </p:nvGrpSpPr>
        <p:grpSpPr>
          <a:xfrm>
            <a:off x="430680" y="1083111"/>
            <a:ext cx="10863136" cy="650287"/>
            <a:chOff x="157271" y="1457866"/>
            <a:chExt cx="10863136" cy="650287"/>
          </a:xfrm>
        </p:grpSpPr>
        <p:sp>
          <p:nvSpPr>
            <p:cNvPr id="108" name="CuadroTexto 107">
              <a:extLst>
                <a:ext uri="{FF2B5EF4-FFF2-40B4-BE49-F238E27FC236}">
                  <a16:creationId xmlns:a16="http://schemas.microsoft.com/office/drawing/2014/main" id="{0DFAE232-C03A-4447-AF4F-2FEEE826CF8A}"/>
                </a:ext>
              </a:extLst>
            </p:cNvPr>
            <p:cNvSpPr txBox="1"/>
            <p:nvPr/>
          </p:nvSpPr>
          <p:spPr>
            <a:xfrm>
              <a:off x="622850" y="1642532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Introducción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9" name="Conector recto 108">
              <a:extLst>
                <a:ext uri="{FF2B5EF4-FFF2-40B4-BE49-F238E27FC236}">
                  <a16:creationId xmlns:a16="http://schemas.microsoft.com/office/drawing/2014/main" id="{7434769E-8F5B-4CDA-AFEA-2FA908180F28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10815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cto 109">
              <a:extLst>
                <a:ext uri="{FF2B5EF4-FFF2-40B4-BE49-F238E27FC236}">
                  <a16:creationId xmlns:a16="http://schemas.microsoft.com/office/drawing/2014/main" id="{C0926ED7-6C71-4132-9062-E0B720E03046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102209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CuadroTexto 110">
              <a:extLst>
                <a:ext uri="{FF2B5EF4-FFF2-40B4-BE49-F238E27FC236}">
                  <a16:creationId xmlns:a16="http://schemas.microsoft.com/office/drawing/2014/main" id="{238FD54F-35A5-4122-9015-D197608097DD}"/>
                </a:ext>
              </a:extLst>
            </p:cNvPr>
            <p:cNvSpPr txBox="1"/>
            <p:nvPr/>
          </p:nvSpPr>
          <p:spPr>
            <a:xfrm>
              <a:off x="6018936" y="1457866"/>
              <a:ext cx="29925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qué es Gobierno Corporativo, objetivos, beneficios y avances del proyecto </a:t>
              </a:r>
            </a:p>
          </p:txBody>
        </p:sp>
        <p:sp>
          <p:nvSpPr>
            <p:cNvPr id="112" name="CuadroTexto 111">
              <a:extLst>
                <a:ext uri="{FF2B5EF4-FFF2-40B4-BE49-F238E27FC236}">
                  <a16:creationId xmlns:a16="http://schemas.microsoft.com/office/drawing/2014/main" id="{0DC8B8DA-3D9B-4936-81F1-CE85FFE781C2}"/>
                </a:ext>
              </a:extLst>
            </p:cNvPr>
            <p:cNvSpPr txBox="1"/>
            <p:nvPr/>
          </p:nvSpPr>
          <p:spPr>
            <a:xfrm>
              <a:off x="9264494" y="1550199"/>
              <a:ext cx="17559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Video</a:t>
              </a:r>
            </a:p>
            <a:p>
              <a:r>
                <a:rPr lang="es-CO" sz="1200"/>
                <a:t>Presentación</a:t>
              </a:r>
            </a:p>
          </p:txBody>
        </p:sp>
        <p:cxnSp>
          <p:nvCxnSpPr>
            <p:cNvPr id="113" name="Conector recto 112">
              <a:extLst>
                <a:ext uri="{FF2B5EF4-FFF2-40B4-BE49-F238E27FC236}">
                  <a16:creationId xmlns:a16="http://schemas.microsoft.com/office/drawing/2014/main" id="{59088CD4-BBE7-483B-9FF9-1D62F9236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078411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cto 113">
              <a:extLst>
                <a:ext uri="{FF2B5EF4-FFF2-40B4-BE49-F238E27FC236}">
                  <a16:creationId xmlns:a16="http://schemas.microsoft.com/office/drawing/2014/main" id="{945F525E-96D6-4C2C-A528-6A902709A377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10603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CuadroTexto 114">
              <a:extLst>
                <a:ext uri="{FF2B5EF4-FFF2-40B4-BE49-F238E27FC236}">
                  <a16:creationId xmlns:a16="http://schemas.microsoft.com/office/drawing/2014/main" id="{DB35C4D3-61DC-4194-A530-0CD186587533}"/>
                </a:ext>
              </a:extLst>
            </p:cNvPr>
            <p:cNvSpPr txBox="1"/>
            <p:nvPr/>
          </p:nvSpPr>
          <p:spPr>
            <a:xfrm>
              <a:off x="3990127" y="1642532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6" name="Picture 2" descr="Cognitivo - Iconos gratis de personas">
              <a:extLst>
                <a:ext uri="{FF2B5EF4-FFF2-40B4-BE49-F238E27FC236}">
                  <a16:creationId xmlns:a16="http://schemas.microsoft.com/office/drawing/2014/main" id="{5BC46F26-8961-4F34-9760-8943760907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1617458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7" name="Grupo 116">
            <a:extLst>
              <a:ext uri="{FF2B5EF4-FFF2-40B4-BE49-F238E27FC236}">
                <a16:creationId xmlns:a16="http://schemas.microsoft.com/office/drawing/2014/main" id="{6B2613F8-F744-454D-91E2-AEE6A9F29C43}"/>
              </a:ext>
            </a:extLst>
          </p:cNvPr>
          <p:cNvGrpSpPr/>
          <p:nvPr/>
        </p:nvGrpSpPr>
        <p:grpSpPr>
          <a:xfrm>
            <a:off x="470908" y="4047786"/>
            <a:ext cx="10620200" cy="742092"/>
            <a:chOff x="197499" y="4125873"/>
            <a:chExt cx="10620200" cy="742092"/>
          </a:xfrm>
        </p:grpSpPr>
        <p:sp>
          <p:nvSpPr>
            <p:cNvPr id="118" name="CuadroTexto 117">
              <a:extLst>
                <a:ext uri="{FF2B5EF4-FFF2-40B4-BE49-F238E27FC236}">
                  <a16:creationId xmlns:a16="http://schemas.microsoft.com/office/drawing/2014/main" id="{005BD08C-0EE8-4633-8B97-08CC29CE51B8}"/>
                </a:ext>
              </a:extLst>
            </p:cNvPr>
            <p:cNvSpPr txBox="1"/>
            <p:nvPr/>
          </p:nvSpPr>
          <p:spPr>
            <a:xfrm>
              <a:off x="622850" y="4218206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2: Charla “Empodérate” - MAD</a:t>
              </a:r>
            </a:p>
          </p:txBody>
        </p:sp>
        <p:sp>
          <p:nvSpPr>
            <p:cNvPr id="119" name="CuadroTexto 118">
              <a:extLst>
                <a:ext uri="{FF2B5EF4-FFF2-40B4-BE49-F238E27FC236}">
                  <a16:creationId xmlns:a16="http://schemas.microsoft.com/office/drawing/2014/main" id="{E3BEB78D-E8E1-481E-8CEB-EEC808402A59}"/>
                </a:ext>
              </a:extLst>
            </p:cNvPr>
            <p:cNvSpPr txBox="1"/>
            <p:nvPr/>
          </p:nvSpPr>
          <p:spPr>
            <a:xfrm>
              <a:off x="6018935" y="4125873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Charla riesgos de no tomar decisione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Actividad lúdica: revisión del MAD y proponer las actividades más relevantes</a:t>
              </a:r>
              <a:endParaRPr lang="es-CO" sz="1200" strike="sngStrik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CuadroTexto 119">
              <a:extLst>
                <a:ext uri="{FF2B5EF4-FFF2-40B4-BE49-F238E27FC236}">
                  <a16:creationId xmlns:a16="http://schemas.microsoft.com/office/drawing/2014/main" id="{D1B62530-57CE-4A21-A7E2-B81C22F47BB8}"/>
                </a:ext>
              </a:extLst>
            </p:cNvPr>
            <p:cNvSpPr txBox="1"/>
            <p:nvPr/>
          </p:nvSpPr>
          <p:spPr>
            <a:xfrm>
              <a:off x="3990127" y="431053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 panose="020B0604020202020204" pitchFamily="34" charset="0"/>
                  <a:cs typeface="Arial" panose="020B0604020202020204" pitchFamily="34" charset="0"/>
                </a:rPr>
                <a:t>18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CuadroTexto 120">
              <a:extLst>
                <a:ext uri="{FF2B5EF4-FFF2-40B4-BE49-F238E27FC236}">
                  <a16:creationId xmlns:a16="http://schemas.microsoft.com/office/drawing/2014/main" id="{878445E7-B1EA-49B9-9A06-600E42D9C00D}"/>
                </a:ext>
              </a:extLst>
            </p:cNvPr>
            <p:cNvSpPr txBox="1"/>
            <p:nvPr/>
          </p:nvSpPr>
          <p:spPr>
            <a:xfrm>
              <a:off x="9264494" y="4218206"/>
              <a:ext cx="15532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/>
                <a:t>Charl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 err="1"/>
                <a:t>Mentimeter</a:t>
              </a:r>
              <a:endParaRPr lang="es-CO" sz="1200"/>
            </a:p>
          </p:txBody>
        </p:sp>
        <p:pic>
          <p:nvPicPr>
            <p:cNvPr id="122" name="Picture 6" descr="Apoyanos">
              <a:extLst>
                <a:ext uri="{FF2B5EF4-FFF2-40B4-BE49-F238E27FC236}">
                  <a16:creationId xmlns:a16="http://schemas.microsoft.com/office/drawing/2014/main" id="{735FD6AB-4D9E-48C4-A2A4-4CB2A12619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4325693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3" name="Conector recto 122">
              <a:extLst>
                <a:ext uri="{FF2B5EF4-FFF2-40B4-BE49-F238E27FC236}">
                  <a16:creationId xmlns:a16="http://schemas.microsoft.com/office/drawing/2014/main" id="{C7FAFEC2-6E97-4F6F-BA24-F080C2F52D9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4867965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cto 123">
              <a:extLst>
                <a:ext uri="{FF2B5EF4-FFF2-40B4-BE49-F238E27FC236}">
                  <a16:creationId xmlns:a16="http://schemas.microsoft.com/office/drawing/2014/main" id="{052C1626-B7E9-4CBB-B41B-19F1C52B248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4862021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cto 124">
              <a:extLst>
                <a:ext uri="{FF2B5EF4-FFF2-40B4-BE49-F238E27FC236}">
                  <a16:creationId xmlns:a16="http://schemas.microsoft.com/office/drawing/2014/main" id="{EEBFE2DA-5127-4FBD-871C-BC30BC9886B6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484282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cto 125">
              <a:extLst>
                <a:ext uri="{FF2B5EF4-FFF2-40B4-BE49-F238E27FC236}">
                  <a16:creationId xmlns:a16="http://schemas.microsoft.com/office/drawing/2014/main" id="{A0159407-C1E0-42F9-96B7-52E8DE9FB54C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485837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Grupo 126">
            <a:extLst>
              <a:ext uri="{FF2B5EF4-FFF2-40B4-BE49-F238E27FC236}">
                <a16:creationId xmlns:a16="http://schemas.microsoft.com/office/drawing/2014/main" id="{60702B56-DECD-447B-A9E3-E75220CE6451}"/>
              </a:ext>
            </a:extLst>
          </p:cNvPr>
          <p:cNvGrpSpPr/>
          <p:nvPr/>
        </p:nvGrpSpPr>
        <p:grpSpPr>
          <a:xfrm>
            <a:off x="292248" y="5602309"/>
            <a:ext cx="9114357" cy="430250"/>
            <a:chOff x="18839" y="5947084"/>
            <a:chExt cx="9114357" cy="430250"/>
          </a:xfrm>
        </p:grpSpPr>
        <p:sp>
          <p:nvSpPr>
            <p:cNvPr id="128" name="CuadroTexto 127">
              <a:extLst>
                <a:ext uri="{FF2B5EF4-FFF2-40B4-BE49-F238E27FC236}">
                  <a16:creationId xmlns:a16="http://schemas.microsoft.com/office/drawing/2014/main" id="{ED59BBA5-78C0-4BAE-A239-BB0D192DF18D}"/>
                </a:ext>
              </a:extLst>
            </p:cNvPr>
            <p:cNvSpPr txBox="1"/>
            <p:nvPr/>
          </p:nvSpPr>
          <p:spPr>
            <a:xfrm>
              <a:off x="622850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29" name="CuadroTexto 128">
              <a:extLst>
                <a:ext uri="{FF2B5EF4-FFF2-40B4-BE49-F238E27FC236}">
                  <a16:creationId xmlns:a16="http://schemas.microsoft.com/office/drawing/2014/main" id="{38F6E427-4252-4DBA-A22D-B030B7878228}"/>
                </a:ext>
              </a:extLst>
            </p:cNvPr>
            <p:cNvSpPr txBox="1"/>
            <p:nvPr/>
          </p:nvSpPr>
          <p:spPr>
            <a:xfrm>
              <a:off x="6018935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31" name="CuadroTexto 130">
              <a:extLst>
                <a:ext uri="{FF2B5EF4-FFF2-40B4-BE49-F238E27FC236}">
                  <a16:creationId xmlns:a16="http://schemas.microsoft.com/office/drawing/2014/main" id="{7BEB4D49-A38C-4972-AA35-9C77065D91C7}"/>
                </a:ext>
              </a:extLst>
            </p:cNvPr>
            <p:cNvSpPr txBox="1"/>
            <p:nvPr/>
          </p:nvSpPr>
          <p:spPr>
            <a:xfrm>
              <a:off x="3960147" y="597849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20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2" name="Picture 4" descr="Empathy PNG Images | Vector and PSD Files | Free Download on Pngtree">
              <a:extLst>
                <a:ext uri="{FF2B5EF4-FFF2-40B4-BE49-F238E27FC236}">
                  <a16:creationId xmlns:a16="http://schemas.microsoft.com/office/drawing/2014/main" id="{D85EFBB4-82A1-4AEB-A02E-54D3607A36B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28" t="22271" r="6102" b="19906"/>
            <a:stretch/>
          </p:blipFill>
          <p:spPr bwMode="auto">
            <a:xfrm>
              <a:off x="18839" y="5978499"/>
              <a:ext cx="604011" cy="398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3" name="Grupo 132">
            <a:extLst>
              <a:ext uri="{FF2B5EF4-FFF2-40B4-BE49-F238E27FC236}">
                <a16:creationId xmlns:a16="http://schemas.microsoft.com/office/drawing/2014/main" id="{230FEFAE-02E8-496A-B8AD-506B3F9F1126}"/>
              </a:ext>
            </a:extLst>
          </p:cNvPr>
          <p:cNvGrpSpPr/>
          <p:nvPr/>
        </p:nvGrpSpPr>
        <p:grpSpPr>
          <a:xfrm>
            <a:off x="470908" y="4903514"/>
            <a:ext cx="10620200" cy="545404"/>
            <a:chOff x="197499" y="5168950"/>
            <a:chExt cx="10620200" cy="545404"/>
          </a:xfrm>
        </p:grpSpPr>
        <p:sp>
          <p:nvSpPr>
            <p:cNvPr id="134" name="CuadroTexto 133">
              <a:extLst>
                <a:ext uri="{FF2B5EF4-FFF2-40B4-BE49-F238E27FC236}">
                  <a16:creationId xmlns:a16="http://schemas.microsoft.com/office/drawing/2014/main" id="{5BC2AB0D-6046-4152-AF02-7891CB54CA54}"/>
                </a:ext>
              </a:extLst>
            </p:cNvPr>
            <p:cNvSpPr txBox="1"/>
            <p:nvPr/>
          </p:nvSpPr>
          <p:spPr>
            <a:xfrm>
              <a:off x="622850" y="5261283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3: Modelo de relacionamiento</a:t>
              </a:r>
            </a:p>
          </p:txBody>
        </p:sp>
        <p:sp>
          <p:nvSpPr>
            <p:cNvPr id="135" name="CuadroTexto 134">
              <a:extLst>
                <a:ext uri="{FF2B5EF4-FFF2-40B4-BE49-F238E27FC236}">
                  <a16:creationId xmlns:a16="http://schemas.microsoft.com/office/drawing/2014/main" id="{0972EA45-CA71-4C58-B3E3-2CE03A37733F}"/>
                </a:ext>
              </a:extLst>
            </p:cNvPr>
            <p:cNvSpPr txBox="1"/>
            <p:nvPr/>
          </p:nvSpPr>
          <p:spPr>
            <a:xfrm>
              <a:off x="6018935" y="5168950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Breve explicación del modelo de relacionamiento y quiz sobre el modelo</a:t>
              </a:r>
            </a:p>
          </p:txBody>
        </p:sp>
        <p:sp>
          <p:nvSpPr>
            <p:cNvPr id="136" name="CuadroTexto 135">
              <a:extLst>
                <a:ext uri="{FF2B5EF4-FFF2-40B4-BE49-F238E27FC236}">
                  <a16:creationId xmlns:a16="http://schemas.microsoft.com/office/drawing/2014/main" id="{10F2F476-E3DF-44DB-93E1-67C528B845D4}"/>
                </a:ext>
              </a:extLst>
            </p:cNvPr>
            <p:cNvSpPr txBox="1"/>
            <p:nvPr/>
          </p:nvSpPr>
          <p:spPr>
            <a:xfrm>
              <a:off x="3990127" y="5261283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1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CuadroTexto 136">
              <a:extLst>
                <a:ext uri="{FF2B5EF4-FFF2-40B4-BE49-F238E27FC236}">
                  <a16:creationId xmlns:a16="http://schemas.microsoft.com/office/drawing/2014/main" id="{E07EEAAE-3F46-4635-B660-163BBE708926}"/>
                </a:ext>
              </a:extLst>
            </p:cNvPr>
            <p:cNvSpPr txBox="1"/>
            <p:nvPr/>
          </p:nvSpPr>
          <p:spPr>
            <a:xfrm>
              <a:off x="9264494" y="5261284"/>
              <a:ext cx="970202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 err="1"/>
                <a:t>Mentimeter</a:t>
              </a:r>
              <a:endParaRPr lang="es-CO" sz="1200"/>
            </a:p>
          </p:txBody>
        </p:sp>
        <p:pic>
          <p:nvPicPr>
            <p:cNvPr id="138" name="Picture 6" descr="Apoyanos">
              <a:extLst>
                <a:ext uri="{FF2B5EF4-FFF2-40B4-BE49-F238E27FC236}">
                  <a16:creationId xmlns:a16="http://schemas.microsoft.com/office/drawing/2014/main" id="{5BCB04AD-8A35-4E76-831A-BE37AB758B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5276437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9" name="Conector recto 138">
              <a:extLst>
                <a:ext uri="{FF2B5EF4-FFF2-40B4-BE49-F238E27FC236}">
                  <a16:creationId xmlns:a16="http://schemas.microsoft.com/office/drawing/2014/main" id="{C3E2F61F-1C4B-476B-A2BD-A0EB15822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571435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cto 139">
              <a:extLst>
                <a:ext uri="{FF2B5EF4-FFF2-40B4-BE49-F238E27FC236}">
                  <a16:creationId xmlns:a16="http://schemas.microsoft.com/office/drawing/2014/main" id="{113CCA2C-1CA9-4102-92F6-87C454341705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5708410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cto 140">
              <a:extLst>
                <a:ext uri="{FF2B5EF4-FFF2-40B4-BE49-F238E27FC236}">
                  <a16:creationId xmlns:a16="http://schemas.microsoft.com/office/drawing/2014/main" id="{A84DA711-F321-4D6A-8C5F-7514C157EC7F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5689213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ector recto 141">
              <a:extLst>
                <a:ext uri="{FF2B5EF4-FFF2-40B4-BE49-F238E27FC236}">
                  <a16:creationId xmlns:a16="http://schemas.microsoft.com/office/drawing/2014/main" id="{6B8615B1-8EDC-48F5-B371-CCB9A26F6263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570476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o 142">
            <a:extLst>
              <a:ext uri="{FF2B5EF4-FFF2-40B4-BE49-F238E27FC236}">
                <a16:creationId xmlns:a16="http://schemas.microsoft.com/office/drawing/2014/main" id="{C2B0831D-672E-4270-8739-782D42787680}"/>
              </a:ext>
            </a:extLst>
          </p:cNvPr>
          <p:cNvGrpSpPr/>
          <p:nvPr/>
        </p:nvGrpSpPr>
        <p:grpSpPr>
          <a:xfrm>
            <a:off x="470908" y="1873058"/>
            <a:ext cx="10822908" cy="583037"/>
            <a:chOff x="197499" y="2057233"/>
            <a:chExt cx="10822908" cy="583037"/>
          </a:xfrm>
        </p:grpSpPr>
        <p:sp>
          <p:nvSpPr>
            <p:cNvPr id="144" name="CuadroTexto 143">
              <a:extLst>
                <a:ext uri="{FF2B5EF4-FFF2-40B4-BE49-F238E27FC236}">
                  <a16:creationId xmlns:a16="http://schemas.microsoft.com/office/drawing/2014/main" id="{9A40AC9D-F2DE-429E-B1E7-87793BEF9411}"/>
                </a:ext>
              </a:extLst>
            </p:cNvPr>
            <p:cNvSpPr txBox="1"/>
            <p:nvPr/>
          </p:nvSpPr>
          <p:spPr>
            <a:xfrm>
              <a:off x="622850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Quiz validación propósito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CuadroTexto 144">
              <a:extLst>
                <a:ext uri="{FF2B5EF4-FFF2-40B4-BE49-F238E27FC236}">
                  <a16:creationId xmlns:a16="http://schemas.microsoft.com/office/drawing/2014/main" id="{CFD7A2B8-7760-4F47-9755-80C90649B2FD}"/>
                </a:ext>
              </a:extLst>
            </p:cNvPr>
            <p:cNvSpPr txBox="1"/>
            <p:nvPr/>
          </p:nvSpPr>
          <p:spPr>
            <a:xfrm>
              <a:off x="6018935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Breve quiz con preguntas sobre beneficios, elementos y objetivos.</a:t>
              </a:r>
            </a:p>
          </p:txBody>
        </p:sp>
        <p:sp>
          <p:nvSpPr>
            <p:cNvPr id="146" name="CuadroTexto 145">
              <a:extLst>
                <a:ext uri="{FF2B5EF4-FFF2-40B4-BE49-F238E27FC236}">
                  <a16:creationId xmlns:a16="http://schemas.microsoft.com/office/drawing/2014/main" id="{288966CF-A2CB-4920-8B6E-870D67CE8DB4}"/>
                </a:ext>
              </a:extLst>
            </p:cNvPr>
            <p:cNvSpPr txBox="1"/>
            <p:nvPr/>
          </p:nvSpPr>
          <p:spPr>
            <a:xfrm>
              <a:off x="9264494" y="2149566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 err="1"/>
                <a:t>Mentimeter</a:t>
              </a:r>
              <a:endParaRPr lang="es-CO" sz="1200"/>
            </a:p>
          </p:txBody>
        </p:sp>
        <p:sp>
          <p:nvSpPr>
            <p:cNvPr id="147" name="CuadroTexto 146">
              <a:extLst>
                <a:ext uri="{FF2B5EF4-FFF2-40B4-BE49-F238E27FC236}">
                  <a16:creationId xmlns:a16="http://schemas.microsoft.com/office/drawing/2014/main" id="{7B9ED864-7CF7-4FC1-AAEB-6C50E8128BD6}"/>
                </a:ext>
              </a:extLst>
            </p:cNvPr>
            <p:cNvSpPr txBox="1"/>
            <p:nvPr/>
          </p:nvSpPr>
          <p:spPr>
            <a:xfrm>
              <a:off x="3990127" y="2149566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8" name="Picture 6" descr="Apoyanos">
              <a:extLst>
                <a:ext uri="{FF2B5EF4-FFF2-40B4-BE49-F238E27FC236}">
                  <a16:creationId xmlns:a16="http://schemas.microsoft.com/office/drawing/2014/main" id="{4B1C7764-E939-4F67-A9D8-34E249741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2164720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9" name="Conector recto 148">
              <a:extLst>
                <a:ext uri="{FF2B5EF4-FFF2-40B4-BE49-F238E27FC236}">
                  <a16:creationId xmlns:a16="http://schemas.microsoft.com/office/drawing/2014/main" id="{3DD257FE-0DBC-4BDE-8E41-F0693773C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640270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ector recto 149">
              <a:extLst>
                <a:ext uri="{FF2B5EF4-FFF2-40B4-BE49-F238E27FC236}">
                  <a16:creationId xmlns:a16="http://schemas.microsoft.com/office/drawing/2014/main" id="{6A192D05-FA68-4C91-B411-42299285EFCC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634326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ector recto 150">
              <a:extLst>
                <a:ext uri="{FF2B5EF4-FFF2-40B4-BE49-F238E27FC236}">
                  <a16:creationId xmlns:a16="http://schemas.microsoft.com/office/drawing/2014/main" id="{70130B1F-D0F6-464E-B312-55BB85042484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615129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onector recto 151">
              <a:extLst>
                <a:ext uri="{FF2B5EF4-FFF2-40B4-BE49-F238E27FC236}">
                  <a16:creationId xmlns:a16="http://schemas.microsoft.com/office/drawing/2014/main" id="{C3DB8877-7BF3-4FAC-A3D2-5BA95D944800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630679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3" name="Grupo 152">
            <a:extLst>
              <a:ext uri="{FF2B5EF4-FFF2-40B4-BE49-F238E27FC236}">
                <a16:creationId xmlns:a16="http://schemas.microsoft.com/office/drawing/2014/main" id="{C74AA7BD-0482-4430-AE80-88955BE81BD6}"/>
              </a:ext>
            </a:extLst>
          </p:cNvPr>
          <p:cNvGrpSpPr/>
          <p:nvPr/>
        </p:nvGrpSpPr>
        <p:grpSpPr>
          <a:xfrm>
            <a:off x="430680" y="2559905"/>
            <a:ext cx="11761320" cy="571246"/>
            <a:chOff x="157271" y="2580358"/>
            <a:chExt cx="11761320" cy="571246"/>
          </a:xfrm>
        </p:grpSpPr>
        <p:cxnSp>
          <p:nvCxnSpPr>
            <p:cNvPr id="154" name="Conector recto 153">
              <a:extLst>
                <a:ext uri="{FF2B5EF4-FFF2-40B4-BE49-F238E27FC236}">
                  <a16:creationId xmlns:a16="http://schemas.microsoft.com/office/drawing/2014/main" id="{257C7050-446B-4BC0-AE56-15B1276BF84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15160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ctor recto 154">
              <a:extLst>
                <a:ext uri="{FF2B5EF4-FFF2-40B4-BE49-F238E27FC236}">
                  <a16:creationId xmlns:a16="http://schemas.microsoft.com/office/drawing/2014/main" id="{1EDA848A-C3C5-44F2-B0B2-5B39061E32D7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151604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Conector recto 155">
              <a:extLst>
                <a:ext uri="{FF2B5EF4-FFF2-40B4-BE49-F238E27FC236}">
                  <a16:creationId xmlns:a16="http://schemas.microsoft.com/office/drawing/2014/main" id="{6D136770-E5C6-4FD4-994A-347A353033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15160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ector recto 156">
              <a:extLst>
                <a:ext uri="{FF2B5EF4-FFF2-40B4-BE49-F238E27FC236}">
                  <a16:creationId xmlns:a16="http://schemas.microsoft.com/office/drawing/2014/main" id="{53B5734F-88D4-4463-BC76-B0A78957F1B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15160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CuadroTexto 157">
              <a:extLst>
                <a:ext uri="{FF2B5EF4-FFF2-40B4-BE49-F238E27FC236}">
                  <a16:creationId xmlns:a16="http://schemas.microsoft.com/office/drawing/2014/main" id="{D7DCC36E-87EB-40F0-B8DA-26802C828AF9}"/>
                </a:ext>
              </a:extLst>
            </p:cNvPr>
            <p:cNvSpPr txBox="1"/>
            <p:nvPr/>
          </p:nvSpPr>
          <p:spPr>
            <a:xfrm>
              <a:off x="3990127" y="2672691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10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9" name="Picture 2" descr="Cognitivo - Iconos gratis de personas">
              <a:extLst>
                <a:ext uri="{FF2B5EF4-FFF2-40B4-BE49-F238E27FC236}">
                  <a16:creationId xmlns:a16="http://schemas.microsoft.com/office/drawing/2014/main" id="{9E8D376D-8F72-4FAA-8753-2439E745B1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2647617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0" name="CuadroTexto 159">
              <a:extLst>
                <a:ext uri="{FF2B5EF4-FFF2-40B4-BE49-F238E27FC236}">
                  <a16:creationId xmlns:a16="http://schemas.microsoft.com/office/drawing/2014/main" id="{C60BD2D3-9268-46A4-A248-8754845A2B7A}"/>
                </a:ext>
              </a:extLst>
            </p:cNvPr>
            <p:cNvSpPr txBox="1"/>
            <p:nvPr/>
          </p:nvSpPr>
          <p:spPr>
            <a:xfrm>
              <a:off x="622850" y="2672691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Divulgación Macroprocesos</a:t>
              </a:r>
            </a:p>
          </p:txBody>
        </p:sp>
        <p:sp>
          <p:nvSpPr>
            <p:cNvPr id="161" name="CuadroTexto 160">
              <a:extLst>
                <a:ext uri="{FF2B5EF4-FFF2-40B4-BE49-F238E27FC236}">
                  <a16:creationId xmlns:a16="http://schemas.microsoft.com/office/drawing/2014/main" id="{9DEB7601-FDE6-4584-A603-436E8B612A41}"/>
                </a:ext>
              </a:extLst>
            </p:cNvPr>
            <p:cNvSpPr txBox="1"/>
            <p:nvPr/>
          </p:nvSpPr>
          <p:spPr>
            <a:xfrm>
              <a:off x="6018935" y="2580358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2do hito del taller de macroprocesos – Gerentes divulgan su proceso, nivel 1</a:t>
              </a:r>
            </a:p>
          </p:txBody>
        </p:sp>
        <p:sp>
          <p:nvSpPr>
            <p:cNvPr id="162" name="CuadroTexto 161">
              <a:extLst>
                <a:ext uri="{FF2B5EF4-FFF2-40B4-BE49-F238E27FC236}">
                  <a16:creationId xmlns:a16="http://schemas.microsoft.com/office/drawing/2014/main" id="{2A62CB7D-E2D1-48FE-AA10-A873E92AE577}"/>
                </a:ext>
              </a:extLst>
            </p:cNvPr>
            <p:cNvSpPr txBox="1"/>
            <p:nvPr/>
          </p:nvSpPr>
          <p:spPr>
            <a:xfrm>
              <a:off x="9234514" y="2662173"/>
              <a:ext cx="26840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</p:grpSp>
      <p:grpSp>
        <p:nvGrpSpPr>
          <p:cNvPr id="163" name="Grupo 162">
            <a:extLst>
              <a:ext uri="{FF2B5EF4-FFF2-40B4-BE49-F238E27FC236}">
                <a16:creationId xmlns:a16="http://schemas.microsoft.com/office/drawing/2014/main" id="{4C04BC2E-3186-4C80-B37F-E5B305AAC1ED}"/>
              </a:ext>
            </a:extLst>
          </p:cNvPr>
          <p:cNvGrpSpPr/>
          <p:nvPr/>
        </p:nvGrpSpPr>
        <p:grpSpPr>
          <a:xfrm>
            <a:off x="430680" y="3209283"/>
            <a:ext cx="10863136" cy="695446"/>
            <a:chOff x="157271" y="3081636"/>
            <a:chExt cx="10863136" cy="695446"/>
          </a:xfrm>
        </p:grpSpPr>
        <p:sp>
          <p:nvSpPr>
            <p:cNvPr id="164" name="CuadroTexto 163">
              <a:extLst>
                <a:ext uri="{FF2B5EF4-FFF2-40B4-BE49-F238E27FC236}">
                  <a16:creationId xmlns:a16="http://schemas.microsoft.com/office/drawing/2014/main" id="{BDBFDC69-A308-49F6-B954-651C284DFA8F}"/>
                </a:ext>
              </a:extLst>
            </p:cNvPr>
            <p:cNvSpPr txBox="1"/>
            <p:nvPr/>
          </p:nvSpPr>
          <p:spPr>
            <a:xfrm>
              <a:off x="622850" y="3160172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1:  Documentos corporativos y comités</a:t>
              </a:r>
            </a:p>
          </p:txBody>
        </p:sp>
        <p:sp>
          <p:nvSpPr>
            <p:cNvPr id="165" name="CuadroTexto 164">
              <a:extLst>
                <a:ext uri="{FF2B5EF4-FFF2-40B4-BE49-F238E27FC236}">
                  <a16:creationId xmlns:a16="http://schemas.microsoft.com/office/drawing/2014/main" id="{532C5EF6-9E60-460C-8174-9AA5833C4275}"/>
                </a:ext>
              </a:extLst>
            </p:cNvPr>
            <p:cNvSpPr txBox="1"/>
            <p:nvPr/>
          </p:nvSpPr>
          <p:spPr>
            <a:xfrm>
              <a:off x="6048894" y="3081636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de los diferentes documentos y comités establecidos para cada Vicepresidencia </a:t>
              </a:r>
            </a:p>
          </p:txBody>
        </p:sp>
        <p:sp>
          <p:nvSpPr>
            <p:cNvPr id="166" name="CuadroTexto 165">
              <a:extLst>
                <a:ext uri="{FF2B5EF4-FFF2-40B4-BE49-F238E27FC236}">
                  <a16:creationId xmlns:a16="http://schemas.microsoft.com/office/drawing/2014/main" id="{E051AACB-533A-458D-A6AD-4EE882A51BFA}"/>
                </a:ext>
              </a:extLst>
            </p:cNvPr>
            <p:cNvSpPr txBox="1"/>
            <p:nvPr/>
          </p:nvSpPr>
          <p:spPr>
            <a:xfrm>
              <a:off x="9264494" y="3236319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  <p:sp>
          <p:nvSpPr>
            <p:cNvPr id="167" name="CuadroTexto 166">
              <a:extLst>
                <a:ext uri="{FF2B5EF4-FFF2-40B4-BE49-F238E27FC236}">
                  <a16:creationId xmlns:a16="http://schemas.microsoft.com/office/drawing/2014/main" id="{6110F769-958A-47EA-9391-D7D10AB9A4BC}"/>
                </a:ext>
              </a:extLst>
            </p:cNvPr>
            <p:cNvSpPr txBox="1"/>
            <p:nvPr/>
          </p:nvSpPr>
          <p:spPr>
            <a:xfrm>
              <a:off x="3990127" y="3181025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8" name="Picture 2" descr="Cognitivo - Iconos gratis de personas">
              <a:extLst>
                <a:ext uri="{FF2B5EF4-FFF2-40B4-BE49-F238E27FC236}">
                  <a16:creationId xmlns:a16="http://schemas.microsoft.com/office/drawing/2014/main" id="{BFFEDC3F-5D44-459C-AB94-57B812C81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3241229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9" name="Conector recto 168">
              <a:extLst>
                <a:ext uri="{FF2B5EF4-FFF2-40B4-BE49-F238E27FC236}">
                  <a16:creationId xmlns:a16="http://schemas.microsoft.com/office/drawing/2014/main" id="{EFE50E1C-6452-48D5-887E-325BDE8412DF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777082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ector recto 169">
              <a:extLst>
                <a:ext uri="{FF2B5EF4-FFF2-40B4-BE49-F238E27FC236}">
                  <a16:creationId xmlns:a16="http://schemas.microsoft.com/office/drawing/2014/main" id="{9C6D144F-AE7D-41B8-A40D-748F60DC87E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777082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Conector recto 170">
              <a:extLst>
                <a:ext uri="{FF2B5EF4-FFF2-40B4-BE49-F238E27FC236}">
                  <a16:creationId xmlns:a16="http://schemas.microsoft.com/office/drawing/2014/main" id="{F9A75E3E-F16F-47D3-AD78-BFC9C93484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777082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Conector recto 171">
              <a:extLst>
                <a:ext uri="{FF2B5EF4-FFF2-40B4-BE49-F238E27FC236}">
                  <a16:creationId xmlns:a16="http://schemas.microsoft.com/office/drawing/2014/main" id="{3767DA6F-DABE-4D6F-AE17-AB5D8250600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777082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3">
            <a:extLst>
              <a:ext uri="{FF2B5EF4-FFF2-40B4-BE49-F238E27FC236}">
                <a16:creationId xmlns:a16="http://schemas.microsoft.com/office/drawing/2014/main" id="{7D76A58A-375F-4061-9D4C-651C14864658}"/>
              </a:ext>
            </a:extLst>
          </p:cNvPr>
          <p:cNvSpPr txBox="1">
            <a:spLocks/>
          </p:cNvSpPr>
          <p:nvPr/>
        </p:nvSpPr>
        <p:spPr>
          <a:xfrm>
            <a:off x="2453389" y="122292"/>
            <a:ext cx="734518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764615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41">
            <a:extLst>
              <a:ext uri="{FF2B5EF4-FFF2-40B4-BE49-F238E27FC236}">
                <a16:creationId xmlns:a16="http://schemas.microsoft.com/office/drawing/2014/main" id="{9333B746-8064-8449-9B04-F0504AC05014}"/>
              </a:ext>
            </a:extLst>
          </p:cNvPr>
          <p:cNvSpPr txBox="1"/>
          <p:nvPr/>
        </p:nvSpPr>
        <p:spPr>
          <a:xfrm>
            <a:off x="3744131" y="3567821"/>
            <a:ext cx="7435702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s-CO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ces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MAD 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das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los 12 macroprocesos.</a:t>
            </a:r>
          </a:p>
        </p:txBody>
      </p:sp>
      <p:sp>
        <p:nvSpPr>
          <p:cNvPr id="3" name="CuadroTexto 142">
            <a:extLst>
              <a:ext uri="{FF2B5EF4-FFF2-40B4-BE49-F238E27FC236}">
                <a16:creationId xmlns:a16="http://schemas.microsoft.com/office/drawing/2014/main" id="{FD10FE48-69AD-E749-A7B5-03B0174E8100}"/>
              </a:ext>
            </a:extLst>
          </p:cNvPr>
          <p:cNvSpPr txBox="1"/>
          <p:nvPr/>
        </p:nvSpPr>
        <p:spPr>
          <a:xfrm>
            <a:off x="3712397" y="2056577"/>
            <a:ext cx="7467436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ción de 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lave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dores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s decisiones.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144">
            <a:extLst>
              <a:ext uri="{FF2B5EF4-FFF2-40B4-BE49-F238E27FC236}">
                <a16:creationId xmlns:a16="http://schemas.microsoft.com/office/drawing/2014/main" id="{00567431-B678-D640-9C52-AD0586099CB4}"/>
              </a:ext>
            </a:extLst>
          </p:cNvPr>
          <p:cNvSpPr txBox="1"/>
          <p:nvPr/>
        </p:nvSpPr>
        <p:spPr>
          <a:xfrm>
            <a:off x="3744131" y="2664980"/>
            <a:ext cx="7435702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s-CO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gación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ríticas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ún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anca de agilidad, claridad y consistencia. </a:t>
            </a:r>
          </a:p>
        </p:txBody>
      </p:sp>
      <p:sp>
        <p:nvSpPr>
          <p:cNvPr id="10" name="CuadroTexto 44">
            <a:extLst>
              <a:ext uri="{FF2B5EF4-FFF2-40B4-BE49-F238E27FC236}">
                <a16:creationId xmlns:a16="http://schemas.microsoft.com/office/drawing/2014/main" id="{3E1CC9AC-897D-E04E-99AF-760D523DB0A8}"/>
              </a:ext>
            </a:extLst>
          </p:cNvPr>
          <p:cNvSpPr txBox="1"/>
          <p:nvPr/>
        </p:nvSpPr>
        <p:spPr>
          <a:xfrm>
            <a:off x="10752514" y="868602"/>
            <a:ext cx="86368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/>
              <a:t>100%</a:t>
            </a:r>
            <a:endParaRPr lang="es-CO" sz="2000"/>
          </a:p>
        </p:txBody>
      </p:sp>
      <p:sp>
        <p:nvSpPr>
          <p:cNvPr id="16" name="CuadroTexto 47">
            <a:extLst>
              <a:ext uri="{FF2B5EF4-FFF2-40B4-BE49-F238E27FC236}">
                <a16:creationId xmlns:a16="http://schemas.microsoft.com/office/drawing/2014/main" id="{08C4BC45-A881-BB43-8991-7F434CCD56A7}"/>
              </a:ext>
            </a:extLst>
          </p:cNvPr>
          <p:cNvSpPr txBox="1"/>
          <p:nvPr/>
        </p:nvSpPr>
        <p:spPr>
          <a:xfrm>
            <a:off x="3688322" y="597054"/>
            <a:ext cx="682827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BB45E83-35DA-46EF-B4DB-5D71AD3B2EA6}"/>
              </a:ext>
            </a:extLst>
          </p:cNvPr>
          <p:cNvSpPr/>
          <p:nvPr/>
        </p:nvSpPr>
        <p:spPr>
          <a:xfrm rot="16200000">
            <a:off x="6369399" y="3505693"/>
            <a:ext cx="1284398" cy="31993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6E3C441-DFAD-4F93-AD8E-85A0A709F810}"/>
              </a:ext>
            </a:extLst>
          </p:cNvPr>
          <p:cNvSpPr txBox="1"/>
          <p:nvPr/>
        </p:nvSpPr>
        <p:spPr>
          <a:xfrm>
            <a:off x="7182477" y="4682163"/>
            <a:ext cx="14510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000" b="1">
                <a:solidFill>
                  <a:srgbClr val="99CC00"/>
                </a:solidFill>
              </a:rPr>
              <a:t>155</a:t>
            </a:r>
            <a:endParaRPr lang="es-CO" sz="5000">
              <a:solidFill>
                <a:srgbClr val="10476B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6D68CFE-9473-4259-985E-E73C54C0AB2C}"/>
              </a:ext>
            </a:extLst>
          </p:cNvPr>
          <p:cNvSpPr txBox="1"/>
          <p:nvPr/>
        </p:nvSpPr>
        <p:spPr>
          <a:xfrm>
            <a:off x="5434212" y="4721033"/>
            <a:ext cx="17853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5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formalizadas en nuevo MAD</a:t>
            </a:r>
            <a:endParaRPr lang="es-CO" sz="150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C9BC9A7E-BBF8-45D2-8451-88207B9E08D1}"/>
              </a:ext>
            </a:extLst>
          </p:cNvPr>
          <p:cNvCxnSpPr>
            <a:cxnSpLocks/>
          </p:cNvCxnSpPr>
          <p:nvPr/>
        </p:nvCxnSpPr>
        <p:spPr>
          <a:xfrm flipV="1">
            <a:off x="7219561" y="4477192"/>
            <a:ext cx="22292" cy="127037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A6846F95-AEC6-4C88-9C37-7C4AEC0514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31" y="563804"/>
            <a:ext cx="2562373" cy="2562373"/>
          </a:xfrm>
          <a:prstGeom prst="rect">
            <a:avLst/>
          </a:prstGeom>
        </p:spPr>
      </p:pic>
      <p:sp>
        <p:nvSpPr>
          <p:cNvPr id="9" name="Oval 109">
            <a:extLst>
              <a:ext uri="{FF2B5EF4-FFF2-40B4-BE49-F238E27FC236}">
                <a16:creationId xmlns:a16="http://schemas.microsoft.com/office/drawing/2014/main" id="{5F717C8E-9030-4E5A-A099-28AAD3340896}"/>
              </a:ext>
            </a:extLst>
          </p:cNvPr>
          <p:cNvSpPr/>
          <p:nvPr/>
        </p:nvSpPr>
        <p:spPr>
          <a:xfrm>
            <a:off x="2209029" y="20369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789326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0BDC2BE6-ED2C-45B9-B477-BD471E3E4C02}"/>
              </a:ext>
            </a:extLst>
          </p:cNvPr>
          <p:cNvSpPr txBox="1"/>
          <p:nvPr/>
        </p:nvSpPr>
        <p:spPr>
          <a:xfrm>
            <a:off x="5908979" y="4325912"/>
            <a:ext cx="6140957" cy="191813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endParaRPr lang="es-CO"/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E239B605-6964-49EB-B22A-9FCE640E48BE}"/>
              </a:ext>
            </a:extLst>
          </p:cNvPr>
          <p:cNvSpPr txBox="1"/>
          <p:nvPr/>
        </p:nvSpPr>
        <p:spPr>
          <a:xfrm>
            <a:off x="6315129" y="5361581"/>
            <a:ext cx="1200058" cy="507831"/>
          </a:xfrm>
          <a:prstGeom prst="rect">
            <a:avLst/>
          </a:prstGeom>
          <a:noFill/>
          <a:ln>
            <a:solidFill>
              <a:schemeClr val="bg1"/>
            </a:solidFill>
            <a:prstDash val="solid"/>
          </a:ln>
        </p:spPr>
        <p:txBody>
          <a:bodyPr wrap="square" rtlCol="0" anchor="t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Rep. Legal Fines de Contratación y Abas. 16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740088A-8ABF-414B-8746-763C3F660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740088A-8ABF-414B-8746-763C3F660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2B40C10-F876-4F1B-842D-C3F6355B6C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419" sz="20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A93B487-116E-4767-AA0D-CAE2A460F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44876" y="6428983"/>
            <a:ext cx="847124" cy="365125"/>
          </a:xfrm>
        </p:spPr>
        <p:txBody>
          <a:bodyPr/>
          <a:lstStyle/>
          <a:p>
            <a:fld id="{02F25750-4209-4357-A72F-45445C8044EF}" type="slidenum">
              <a:rPr lang="es-CO" smtClean="0"/>
              <a:pPr/>
              <a:t>21</a:t>
            </a:fld>
            <a:endParaRPr lang="es-CO"/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99300021-C267-43BD-A0F5-B3ECE622345E}"/>
              </a:ext>
            </a:extLst>
          </p:cNvPr>
          <p:cNvSpPr>
            <a:spLocks/>
          </p:cNvSpPr>
          <p:nvPr/>
        </p:nvSpPr>
        <p:spPr>
          <a:xfrm>
            <a:off x="185673" y="651228"/>
            <a:ext cx="1209600" cy="1113164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Solicitudes de contratación de bienes y servicios y sus correspondientes modificaciones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90CC82AC-D82E-4F89-AC67-093894759099}"/>
              </a:ext>
            </a:extLst>
          </p:cNvPr>
          <p:cNvSpPr>
            <a:spLocks/>
          </p:cNvSpPr>
          <p:nvPr/>
        </p:nvSpPr>
        <p:spPr>
          <a:xfrm>
            <a:off x="8324590" y="633357"/>
            <a:ext cx="1172404" cy="1658081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>
                <a:solidFill>
                  <a:schemeClr val="tx2"/>
                </a:solidFill>
              </a:rPr>
              <a:t>Celebración de Acuerdos de Bases Económicas (no compromete presupuesto ni compromete a la sociedad con terceros)</a:t>
            </a:r>
            <a:endParaRPr lang="es-CO" sz="1000" dirty="0">
              <a:solidFill>
                <a:schemeClr val="tx2"/>
              </a:solidFill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1835F856-5B59-4AFF-86DE-2F0968B76CF7}"/>
              </a:ext>
            </a:extLst>
          </p:cNvPr>
          <p:cNvSpPr>
            <a:spLocks/>
          </p:cNvSpPr>
          <p:nvPr/>
        </p:nvSpPr>
        <p:spPr>
          <a:xfrm>
            <a:off x="3165472" y="651228"/>
            <a:ext cx="1388994" cy="1851084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Negociar, disponer, suscribir, modificar, liquidar todo acto, contrato de bienes y servicios relacionado con beneficios a empleados y capacitaciones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id="{101F3273-AA10-47F1-9872-07AD50130DF5}"/>
              </a:ext>
            </a:extLst>
          </p:cNvPr>
          <p:cNvSpPr>
            <a:spLocks/>
          </p:cNvSpPr>
          <p:nvPr/>
        </p:nvSpPr>
        <p:spPr>
          <a:xfrm>
            <a:off x="1525764" y="637314"/>
            <a:ext cx="1513632" cy="1828817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>
                <a:solidFill>
                  <a:schemeClr val="tx2"/>
                </a:solidFill>
              </a:rPr>
              <a:t>Negociar, disponer, suscribir, modificar, liquidar todo acto, contrato o convenio de bienes y servicios (incluyendo aquellos con filiales de la Sociedad) que se encuentren incluidos como parte del proceso de abastecimiento</a:t>
            </a:r>
            <a:endParaRPr lang="es-CO" sz="1000" dirty="0">
              <a:solidFill>
                <a:schemeClr val="tx2"/>
              </a:solidFill>
            </a:endParaRPr>
          </a:p>
        </p:txBody>
      </p:sp>
      <p:sp>
        <p:nvSpPr>
          <p:cNvPr id="103" name="Rectángulo 102">
            <a:extLst>
              <a:ext uri="{FF2B5EF4-FFF2-40B4-BE49-F238E27FC236}">
                <a16:creationId xmlns:a16="http://schemas.microsoft.com/office/drawing/2014/main" id="{BDBCDC72-F935-45A4-AE31-C045019965AF}"/>
              </a:ext>
            </a:extLst>
          </p:cNvPr>
          <p:cNvSpPr>
            <a:spLocks/>
          </p:cNvSpPr>
          <p:nvPr/>
        </p:nvSpPr>
        <p:spPr>
          <a:xfrm>
            <a:off x="4670838" y="651228"/>
            <a:ext cx="1599318" cy="1822879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1000" dirty="0">
                <a:solidFill>
                  <a:schemeClr val="tx2"/>
                </a:solidFill>
                <a:ea typeface="+mn-lt"/>
                <a:cs typeface="+mn-lt"/>
              </a:rPr>
              <a:t>Negociar, suscribir y ejecutar todo tipo de actos y contratos relacionados con la venta, arrendamiento, comodato o cualquier otra forma de disposición de activos o propiedades de la compañía que sean parte del Proceso de Abastecimiento</a:t>
            </a:r>
            <a:endParaRPr lang="es-ES" sz="1000" dirty="0">
              <a:solidFill>
                <a:schemeClr val="tx2"/>
              </a:solidFill>
            </a:endParaRP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815B10B7-60B3-4C63-8431-70CC556387C9}"/>
              </a:ext>
            </a:extLst>
          </p:cNvPr>
          <p:cNvSpPr/>
          <p:nvPr/>
        </p:nvSpPr>
        <p:spPr>
          <a:xfrm>
            <a:off x="30363" y="564751"/>
            <a:ext cx="220630" cy="19965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1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107" name="Elipse 106">
            <a:extLst>
              <a:ext uri="{FF2B5EF4-FFF2-40B4-BE49-F238E27FC236}">
                <a16:creationId xmlns:a16="http://schemas.microsoft.com/office/drawing/2014/main" id="{4802A65C-C4BA-49C6-A107-DC404BE5C336}"/>
              </a:ext>
            </a:extLst>
          </p:cNvPr>
          <p:cNvSpPr/>
          <p:nvPr/>
        </p:nvSpPr>
        <p:spPr>
          <a:xfrm>
            <a:off x="1449247" y="564751"/>
            <a:ext cx="233104" cy="19965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2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7" name="Rectangle 30">
            <a:extLst>
              <a:ext uri="{FF2B5EF4-FFF2-40B4-BE49-F238E27FC236}">
                <a16:creationId xmlns:a16="http://schemas.microsoft.com/office/drawing/2014/main" id="{F2F1441C-82E3-4978-ADB4-2E81AB714A12}"/>
              </a:ext>
            </a:extLst>
          </p:cNvPr>
          <p:cNvSpPr>
            <a:spLocks/>
          </p:cNvSpPr>
          <p:nvPr/>
        </p:nvSpPr>
        <p:spPr>
          <a:xfrm>
            <a:off x="185673" y="1906194"/>
            <a:ext cx="1209600" cy="5040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Todas las cuantías</a:t>
            </a:r>
            <a:endParaRPr lang="es-CO" sz="1000">
              <a:solidFill>
                <a:schemeClr val="tx2"/>
              </a:solidFill>
              <a:cs typeface="Arial"/>
            </a:endParaRPr>
          </a:p>
        </p:txBody>
      </p:sp>
      <p:sp>
        <p:nvSpPr>
          <p:cNvPr id="105" name="Elipse 104">
            <a:extLst>
              <a:ext uri="{FF2B5EF4-FFF2-40B4-BE49-F238E27FC236}">
                <a16:creationId xmlns:a16="http://schemas.microsoft.com/office/drawing/2014/main" id="{DC633C75-4D21-4E37-ABEB-B69D06C0A224}"/>
              </a:ext>
            </a:extLst>
          </p:cNvPr>
          <p:cNvSpPr/>
          <p:nvPr/>
        </p:nvSpPr>
        <p:spPr>
          <a:xfrm>
            <a:off x="4599460" y="572585"/>
            <a:ext cx="205767" cy="19182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4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8" name="Rectangle 30">
            <a:extLst>
              <a:ext uri="{FF2B5EF4-FFF2-40B4-BE49-F238E27FC236}">
                <a16:creationId xmlns:a16="http://schemas.microsoft.com/office/drawing/2014/main" id="{B7572FF5-C3B2-41FB-AC8B-11068157874D}"/>
              </a:ext>
            </a:extLst>
          </p:cNvPr>
          <p:cNvSpPr>
            <a:spLocks/>
          </p:cNvSpPr>
          <p:nvPr/>
        </p:nvSpPr>
        <p:spPr>
          <a:xfrm>
            <a:off x="185673" y="2573480"/>
            <a:ext cx="1209600" cy="61471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20.000 SLMMV en adelante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39" name="Rectangle 30">
            <a:extLst>
              <a:ext uri="{FF2B5EF4-FFF2-40B4-BE49-F238E27FC236}">
                <a16:creationId xmlns:a16="http://schemas.microsoft.com/office/drawing/2014/main" id="{2227F15F-B01E-49E7-B6F1-35FB55117734}"/>
              </a:ext>
            </a:extLst>
          </p:cNvPr>
          <p:cNvSpPr>
            <a:spLocks/>
          </p:cNvSpPr>
          <p:nvPr/>
        </p:nvSpPr>
        <p:spPr>
          <a:xfrm>
            <a:off x="185673" y="3371749"/>
            <a:ext cx="1209600" cy="60241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20.000 SLMMV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42" name="Rectangle 30">
            <a:extLst>
              <a:ext uri="{FF2B5EF4-FFF2-40B4-BE49-F238E27FC236}">
                <a16:creationId xmlns:a16="http://schemas.microsoft.com/office/drawing/2014/main" id="{9660C67C-C249-4C29-87B1-2E22B67DE74F}"/>
              </a:ext>
            </a:extLst>
          </p:cNvPr>
          <p:cNvSpPr>
            <a:spLocks/>
          </p:cNvSpPr>
          <p:nvPr/>
        </p:nvSpPr>
        <p:spPr>
          <a:xfrm>
            <a:off x="3183490" y="2599001"/>
            <a:ext cx="1373520" cy="4896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77.000 SLMMV*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44" name="Rectangle 30">
            <a:extLst>
              <a:ext uri="{FF2B5EF4-FFF2-40B4-BE49-F238E27FC236}">
                <a16:creationId xmlns:a16="http://schemas.microsoft.com/office/drawing/2014/main" id="{25AF8D90-7CF9-4004-AFE7-8FD9BCD562C6}"/>
              </a:ext>
            </a:extLst>
          </p:cNvPr>
          <p:cNvSpPr>
            <a:spLocks/>
          </p:cNvSpPr>
          <p:nvPr/>
        </p:nvSpPr>
        <p:spPr>
          <a:xfrm>
            <a:off x="1533106" y="3931570"/>
            <a:ext cx="1506168" cy="4896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15.000 SLMMV*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46" name="Rectangle 30">
            <a:extLst>
              <a:ext uri="{FF2B5EF4-FFF2-40B4-BE49-F238E27FC236}">
                <a16:creationId xmlns:a16="http://schemas.microsoft.com/office/drawing/2014/main" id="{D86974CC-32BF-439F-A6E2-D1E82520294D}"/>
              </a:ext>
            </a:extLst>
          </p:cNvPr>
          <p:cNvSpPr>
            <a:spLocks/>
          </p:cNvSpPr>
          <p:nvPr/>
        </p:nvSpPr>
        <p:spPr>
          <a:xfrm>
            <a:off x="1533106" y="2599000"/>
            <a:ext cx="1506168" cy="4896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77.000 SLMMV en adelante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47" name="Rectangle 30">
            <a:extLst>
              <a:ext uri="{FF2B5EF4-FFF2-40B4-BE49-F238E27FC236}">
                <a16:creationId xmlns:a16="http://schemas.microsoft.com/office/drawing/2014/main" id="{58F0CDC2-9414-439E-A3CB-C4B6F7ADCE1B}"/>
              </a:ext>
            </a:extLst>
          </p:cNvPr>
          <p:cNvSpPr>
            <a:spLocks/>
          </p:cNvSpPr>
          <p:nvPr/>
        </p:nvSpPr>
        <p:spPr>
          <a:xfrm>
            <a:off x="1533106" y="3265285"/>
            <a:ext cx="1506168" cy="4896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77.000 SLMMV*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48" name="Rectangle 30">
            <a:extLst>
              <a:ext uri="{FF2B5EF4-FFF2-40B4-BE49-F238E27FC236}">
                <a16:creationId xmlns:a16="http://schemas.microsoft.com/office/drawing/2014/main" id="{3D0EFFEA-E9FE-4053-B9D8-C9F8D8881270}"/>
              </a:ext>
            </a:extLst>
          </p:cNvPr>
          <p:cNvSpPr>
            <a:spLocks/>
          </p:cNvSpPr>
          <p:nvPr/>
        </p:nvSpPr>
        <p:spPr>
          <a:xfrm>
            <a:off x="4670838" y="2616582"/>
            <a:ext cx="1599319" cy="44958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77.000 SMLMV en adelante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2FE2391-690B-4D13-B0BE-AD54BD4AFEAA}"/>
              </a:ext>
            </a:extLst>
          </p:cNvPr>
          <p:cNvSpPr txBox="1"/>
          <p:nvPr/>
        </p:nvSpPr>
        <p:spPr>
          <a:xfrm>
            <a:off x="-24077" y="6399218"/>
            <a:ext cx="10207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tx2"/>
                </a:solidFill>
              </a:rPr>
              <a:t>* Requiere poder para actuar / Los Vicepresidentes del área usuaria requieren poder para suscribir los Acuerdos y/o Convenios o sus modificaciones </a:t>
            </a:r>
          </a:p>
        </p:txBody>
      </p:sp>
      <p:sp>
        <p:nvSpPr>
          <p:cNvPr id="40" name="Rectangle 30">
            <a:extLst>
              <a:ext uri="{FF2B5EF4-FFF2-40B4-BE49-F238E27FC236}">
                <a16:creationId xmlns:a16="http://schemas.microsoft.com/office/drawing/2014/main" id="{D1132571-22C6-4A24-931F-862227F6062D}"/>
              </a:ext>
            </a:extLst>
          </p:cNvPr>
          <p:cNvSpPr>
            <a:spLocks/>
          </p:cNvSpPr>
          <p:nvPr/>
        </p:nvSpPr>
        <p:spPr>
          <a:xfrm>
            <a:off x="185673" y="4174373"/>
            <a:ext cx="1209600" cy="60241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8.500 SLMMV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41" name="Rectangle 30">
            <a:extLst>
              <a:ext uri="{FF2B5EF4-FFF2-40B4-BE49-F238E27FC236}">
                <a16:creationId xmlns:a16="http://schemas.microsoft.com/office/drawing/2014/main" id="{CCB4BB0D-CEFB-4C0D-841C-32888E931D7E}"/>
              </a:ext>
            </a:extLst>
          </p:cNvPr>
          <p:cNvSpPr>
            <a:spLocks/>
          </p:cNvSpPr>
          <p:nvPr/>
        </p:nvSpPr>
        <p:spPr>
          <a:xfrm>
            <a:off x="1533106" y="4597855"/>
            <a:ext cx="1506168" cy="4896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4.000 SLMMV*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42" name="Rectangle 30">
            <a:extLst>
              <a:ext uri="{FF2B5EF4-FFF2-40B4-BE49-F238E27FC236}">
                <a16:creationId xmlns:a16="http://schemas.microsoft.com/office/drawing/2014/main" id="{D738484B-A1FE-4D14-B0E6-2C43B61812C6}"/>
              </a:ext>
            </a:extLst>
          </p:cNvPr>
          <p:cNvSpPr>
            <a:spLocks/>
          </p:cNvSpPr>
          <p:nvPr/>
        </p:nvSpPr>
        <p:spPr>
          <a:xfrm>
            <a:off x="4673133" y="3243546"/>
            <a:ext cx="1594728" cy="336913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77.000 SMLMV*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FE8ED9F7-3608-4810-95FA-CCA357FF8DD5}"/>
              </a:ext>
            </a:extLst>
          </p:cNvPr>
          <p:cNvSpPr>
            <a:spLocks/>
          </p:cNvSpPr>
          <p:nvPr/>
        </p:nvSpPr>
        <p:spPr>
          <a:xfrm>
            <a:off x="9640055" y="648855"/>
            <a:ext cx="1087624" cy="110597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el Manual de Contratación de la Sociedad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49" name="Rectangle 30">
            <a:extLst>
              <a:ext uri="{FF2B5EF4-FFF2-40B4-BE49-F238E27FC236}">
                <a16:creationId xmlns:a16="http://schemas.microsoft.com/office/drawing/2014/main" id="{AA424A2E-6D9A-4F45-8D12-089063FB713D}"/>
              </a:ext>
            </a:extLst>
          </p:cNvPr>
          <p:cNvSpPr>
            <a:spLocks/>
          </p:cNvSpPr>
          <p:nvPr/>
        </p:nvSpPr>
        <p:spPr>
          <a:xfrm>
            <a:off x="4670838" y="3799480"/>
            <a:ext cx="1599318" cy="32367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20.000 SMLMV*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5AEE6479-611C-4B25-9D86-68C74F4E6840}"/>
              </a:ext>
            </a:extLst>
          </p:cNvPr>
          <p:cNvSpPr/>
          <p:nvPr/>
        </p:nvSpPr>
        <p:spPr>
          <a:xfrm>
            <a:off x="5876872" y="4374090"/>
            <a:ext cx="6173063" cy="430887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 anchor="t">
            <a:spAutoFit/>
          </a:bodyPr>
          <a:lstStyle/>
          <a:p>
            <a:pPr algn="just"/>
            <a:r>
              <a:rPr lang="es-ES" sz="1100" b="1" dirty="0">
                <a:solidFill>
                  <a:srgbClr val="254147"/>
                </a:solidFill>
                <a:sym typeface="Wingdings" panose="05000000000000000000" pitchFamily="2" charset="2"/>
              </a:rPr>
              <a:t>Total Macroproceso: </a:t>
            </a:r>
            <a:r>
              <a:rPr lang="es-ES" sz="1100" dirty="0">
                <a:solidFill>
                  <a:srgbClr val="254147"/>
                </a:solidFill>
                <a:sym typeface="Wingdings" panose="05000000000000000000" pitchFamily="2" charset="2"/>
              </a:rPr>
              <a:t>4 procesos Nivel 1, 8 decisiones críticas en su matriz del MAD con 17 categorías de tomadores de decisiones: </a:t>
            </a:r>
            <a:endParaRPr lang="es-CO" sz="1100" dirty="0">
              <a:solidFill>
                <a:srgbClr val="254147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DD71BF06-B04C-46D4-9585-65ACB77D82D1}"/>
              </a:ext>
            </a:extLst>
          </p:cNvPr>
          <p:cNvSpPr/>
          <p:nvPr/>
        </p:nvSpPr>
        <p:spPr>
          <a:xfrm>
            <a:off x="6015816" y="5179850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F922DD3-801F-4B3D-9B4D-DBEC1EC37D57}"/>
              </a:ext>
            </a:extLst>
          </p:cNvPr>
          <p:cNvSpPr txBox="1"/>
          <p:nvPr/>
        </p:nvSpPr>
        <p:spPr>
          <a:xfrm>
            <a:off x="6315129" y="5095573"/>
            <a:ext cx="1200058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Presidente /RL</a:t>
            </a:r>
          </a:p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10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9E99B233-8A5B-44E6-A802-87EAA9553E24}"/>
              </a:ext>
            </a:extLst>
          </p:cNvPr>
          <p:cNvSpPr/>
          <p:nvPr/>
        </p:nvSpPr>
        <p:spPr>
          <a:xfrm>
            <a:off x="6015816" y="5575406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BF5EEC85-5BBC-4AC0-BFF6-FC2E72B5FA13}"/>
              </a:ext>
            </a:extLst>
          </p:cNvPr>
          <p:cNvSpPr/>
          <p:nvPr/>
        </p:nvSpPr>
        <p:spPr>
          <a:xfrm>
            <a:off x="6015816" y="4863450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E09AE2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42AE1721-865B-4FA1-9DB2-04731ADDC02E}"/>
              </a:ext>
            </a:extLst>
          </p:cNvPr>
          <p:cNvSpPr txBox="1"/>
          <p:nvPr/>
        </p:nvSpPr>
        <p:spPr>
          <a:xfrm>
            <a:off x="6315129" y="4803514"/>
            <a:ext cx="1200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Junta Directiva</a:t>
            </a:r>
          </a:p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6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2AD1363D-77A4-4B18-8087-0B267A4558ED}"/>
              </a:ext>
            </a:extLst>
          </p:cNvPr>
          <p:cNvSpPr txBox="1"/>
          <p:nvPr/>
        </p:nvSpPr>
        <p:spPr>
          <a:xfrm>
            <a:off x="7997049" y="4837671"/>
            <a:ext cx="13555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Vicepresidente TH</a:t>
            </a:r>
          </a:p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6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3303E99B-C92B-47E7-8D82-C8AAB6B8C380}"/>
              </a:ext>
            </a:extLst>
          </p:cNvPr>
          <p:cNvSpPr/>
          <p:nvPr/>
        </p:nvSpPr>
        <p:spPr>
          <a:xfrm>
            <a:off x="7624330" y="4885595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4F0BB8E1-0E03-4A52-9BB1-7AC2ED86FFBE}"/>
              </a:ext>
            </a:extLst>
          </p:cNvPr>
          <p:cNvSpPr txBox="1"/>
          <p:nvPr/>
        </p:nvSpPr>
        <p:spPr>
          <a:xfrm>
            <a:off x="7983342" y="5151584"/>
            <a:ext cx="1355501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s-ES" sz="900" dirty="0">
                <a:solidFill>
                  <a:schemeClr val="accent1">
                    <a:lumMod val="25000"/>
                  </a:schemeClr>
                </a:solidFill>
              </a:rPr>
              <a:t>Vicepresidente del área usuaria 10%</a:t>
            </a:r>
            <a:endParaRPr lang="es-ES" sz="900" dirty="0">
              <a:solidFill>
                <a:schemeClr val="accent1">
                  <a:lumMod val="25000"/>
                </a:schemeClr>
              </a:solidFill>
              <a:cs typeface="Arial"/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0FB34961-9380-4A9B-A2B6-992F21508C64}"/>
              </a:ext>
            </a:extLst>
          </p:cNvPr>
          <p:cNvSpPr/>
          <p:nvPr/>
        </p:nvSpPr>
        <p:spPr>
          <a:xfrm>
            <a:off x="7624330" y="520715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74F606FB-9410-44F0-9F53-ACCA9F228C24}"/>
              </a:ext>
            </a:extLst>
          </p:cNvPr>
          <p:cNvSpPr/>
          <p:nvPr/>
        </p:nvSpPr>
        <p:spPr>
          <a:xfrm>
            <a:off x="7624330" y="5528229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97F69600-5EC2-415F-899E-3158E1DD0E4E}"/>
              </a:ext>
            </a:extLst>
          </p:cNvPr>
          <p:cNvSpPr txBox="1"/>
          <p:nvPr/>
        </p:nvSpPr>
        <p:spPr>
          <a:xfrm>
            <a:off x="8014628" y="5435008"/>
            <a:ext cx="1200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schemeClr val="accent1">
                    <a:lumMod val="25000"/>
                  </a:schemeClr>
                </a:solidFill>
              </a:rPr>
              <a:t>Gerentes</a:t>
            </a:r>
          </a:p>
          <a:p>
            <a:r>
              <a:rPr lang="es-ES" sz="900" dirty="0">
                <a:solidFill>
                  <a:schemeClr val="accent1">
                    <a:lumMod val="25000"/>
                  </a:schemeClr>
                </a:solidFill>
              </a:rPr>
              <a:t>6%</a:t>
            </a:r>
            <a:endParaRPr lang="es-CO" sz="9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E78B2A6C-DEF5-4176-9EC8-F1C34E8F7D53}"/>
              </a:ext>
            </a:extLst>
          </p:cNvPr>
          <p:cNvSpPr txBox="1"/>
          <p:nvPr/>
        </p:nvSpPr>
        <p:spPr>
          <a:xfrm>
            <a:off x="9744656" y="4757155"/>
            <a:ext cx="1391098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Gerente de Compras e Inventarios 16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1F7F6559-3F08-4F7E-A909-B96E01AB7528}"/>
              </a:ext>
            </a:extLst>
          </p:cNvPr>
          <p:cNvSpPr/>
          <p:nvPr/>
        </p:nvSpPr>
        <p:spPr>
          <a:xfrm>
            <a:off x="9328087" y="4860445"/>
            <a:ext cx="329638" cy="114568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1F18B743-7CA7-4168-93CE-0B2A698A9D4B}"/>
              </a:ext>
            </a:extLst>
          </p:cNvPr>
          <p:cNvSpPr txBox="1"/>
          <p:nvPr/>
        </p:nvSpPr>
        <p:spPr>
          <a:xfrm>
            <a:off x="11363903" y="4769617"/>
            <a:ext cx="120005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Jefes 6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AB5F3A10-3A0A-4AD1-810F-ECFBAF93D3A3}"/>
              </a:ext>
            </a:extLst>
          </p:cNvPr>
          <p:cNvSpPr/>
          <p:nvPr/>
        </p:nvSpPr>
        <p:spPr>
          <a:xfrm>
            <a:off x="11061718" y="4797193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FF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C1641CFC-CF7F-498D-B4D0-3EC07F8B6FCA}"/>
              </a:ext>
            </a:extLst>
          </p:cNvPr>
          <p:cNvSpPr txBox="1"/>
          <p:nvPr/>
        </p:nvSpPr>
        <p:spPr>
          <a:xfrm>
            <a:off x="9760175" y="5143379"/>
            <a:ext cx="1200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Jefe de Compras</a:t>
            </a:r>
          </a:p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6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75F4E58E-0C8C-4616-AE69-3937079E0044}"/>
              </a:ext>
            </a:extLst>
          </p:cNvPr>
          <p:cNvSpPr txBox="1"/>
          <p:nvPr/>
        </p:nvSpPr>
        <p:spPr>
          <a:xfrm>
            <a:off x="11367858" y="4942430"/>
            <a:ext cx="8779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Jefe de Cadena Logística</a:t>
            </a:r>
          </a:p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6% 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C1B3BC7F-010E-4F7C-9215-3BC0CB51B95F}"/>
              </a:ext>
            </a:extLst>
          </p:cNvPr>
          <p:cNvSpPr/>
          <p:nvPr/>
        </p:nvSpPr>
        <p:spPr>
          <a:xfrm>
            <a:off x="9317007" y="5228306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33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B6194378-B50F-421A-B27B-1B4AFC5ED155}"/>
              </a:ext>
            </a:extLst>
          </p:cNvPr>
          <p:cNvSpPr/>
          <p:nvPr/>
        </p:nvSpPr>
        <p:spPr>
          <a:xfrm>
            <a:off x="11052028" y="5264622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1E9FFA51-5316-41A7-8371-6FF614BF6768}"/>
              </a:ext>
            </a:extLst>
          </p:cNvPr>
          <p:cNvSpPr txBox="1"/>
          <p:nvPr/>
        </p:nvSpPr>
        <p:spPr>
          <a:xfrm>
            <a:off x="11338484" y="5528229"/>
            <a:ext cx="81606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schemeClr val="accent1">
                    <a:lumMod val="25000"/>
                  </a:schemeClr>
                </a:solidFill>
              </a:rPr>
              <a:t>Experto de Compras</a:t>
            </a:r>
          </a:p>
          <a:p>
            <a:r>
              <a:rPr lang="es-ES" sz="900" dirty="0">
                <a:solidFill>
                  <a:schemeClr val="accent1">
                    <a:lumMod val="25000"/>
                  </a:schemeClr>
                </a:solidFill>
              </a:rPr>
              <a:t>6%</a:t>
            </a:r>
            <a:endParaRPr lang="es-CO" sz="9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9" name="Rectángulo 68">
            <a:extLst>
              <a:ext uri="{FF2B5EF4-FFF2-40B4-BE49-F238E27FC236}">
                <a16:creationId xmlns:a16="http://schemas.microsoft.com/office/drawing/2014/main" id="{A9C3CC04-9C5E-4AB6-9E92-09DAF9B16ADC}"/>
              </a:ext>
            </a:extLst>
          </p:cNvPr>
          <p:cNvSpPr/>
          <p:nvPr/>
        </p:nvSpPr>
        <p:spPr>
          <a:xfrm>
            <a:off x="11052028" y="5645538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948F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D1CF4700-4906-4F29-B146-BA40E72EA40A}"/>
              </a:ext>
            </a:extLst>
          </p:cNvPr>
          <p:cNvSpPr/>
          <p:nvPr/>
        </p:nvSpPr>
        <p:spPr>
          <a:xfrm>
            <a:off x="866398" y="2298785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  <a:cs typeface="Arial"/>
              </a:rPr>
              <a:t>P</a:t>
            </a:r>
            <a:endParaRPr lang="es-ES"/>
          </a:p>
        </p:txBody>
      </p:sp>
      <p:sp>
        <p:nvSpPr>
          <p:cNvPr id="74" name="Rectángulo 73">
            <a:extLst>
              <a:ext uri="{FF2B5EF4-FFF2-40B4-BE49-F238E27FC236}">
                <a16:creationId xmlns:a16="http://schemas.microsoft.com/office/drawing/2014/main" id="{B5886F35-849B-48A6-97F5-BE8E727DCABB}"/>
              </a:ext>
            </a:extLst>
          </p:cNvPr>
          <p:cNvSpPr/>
          <p:nvPr/>
        </p:nvSpPr>
        <p:spPr>
          <a:xfrm>
            <a:off x="866398" y="3059887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</a:t>
            </a:r>
          </a:p>
        </p:txBody>
      </p:sp>
      <p:sp>
        <p:nvSpPr>
          <p:cNvPr id="75" name="Rectángulo 74">
            <a:extLst>
              <a:ext uri="{FF2B5EF4-FFF2-40B4-BE49-F238E27FC236}">
                <a16:creationId xmlns:a16="http://schemas.microsoft.com/office/drawing/2014/main" id="{6145BB97-3119-4821-8D9F-A6CBDE6564FA}"/>
              </a:ext>
            </a:extLst>
          </p:cNvPr>
          <p:cNvSpPr/>
          <p:nvPr/>
        </p:nvSpPr>
        <p:spPr>
          <a:xfrm>
            <a:off x="2588826" y="2940929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RLCA</a:t>
            </a: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FE57AFEB-C555-4E4A-8CCA-35D95283E0B0}"/>
              </a:ext>
            </a:extLst>
          </p:cNvPr>
          <p:cNvSpPr/>
          <p:nvPr/>
        </p:nvSpPr>
        <p:spPr>
          <a:xfrm>
            <a:off x="4000032" y="2999962"/>
            <a:ext cx="630805" cy="212400"/>
          </a:xfrm>
          <a:prstGeom prst="rect">
            <a:avLst/>
          </a:prstGeom>
          <a:solidFill>
            <a:srgbClr val="FFFFFF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TH</a:t>
            </a: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29484C37-A93F-435C-BB46-AAD296179DA7}"/>
              </a:ext>
            </a:extLst>
          </p:cNvPr>
          <p:cNvSpPr/>
          <p:nvPr/>
        </p:nvSpPr>
        <p:spPr>
          <a:xfrm>
            <a:off x="2580941" y="4312092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rgbClr val="FF3399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JC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E7635D01-CF5B-467A-AD0E-714418970E68}"/>
              </a:ext>
            </a:extLst>
          </p:cNvPr>
          <p:cNvSpPr/>
          <p:nvPr/>
        </p:nvSpPr>
        <p:spPr>
          <a:xfrm>
            <a:off x="2564074" y="5010261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rgbClr val="948FD7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EC</a:t>
            </a: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D66A88FF-E3F2-4BEC-8E12-DCBEE6A096ED}"/>
              </a:ext>
            </a:extLst>
          </p:cNvPr>
          <p:cNvSpPr/>
          <p:nvPr/>
        </p:nvSpPr>
        <p:spPr>
          <a:xfrm>
            <a:off x="866398" y="3848244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1">
                <a:lumMod val="75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G</a:t>
            </a: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A742467B-5CB0-468E-8115-5070DDA010C6}"/>
              </a:ext>
            </a:extLst>
          </p:cNvPr>
          <p:cNvSpPr/>
          <p:nvPr/>
        </p:nvSpPr>
        <p:spPr>
          <a:xfrm>
            <a:off x="5800469" y="4056048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JCL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9F1674CE-F25C-4C2A-AA04-EC08592CA6BF}"/>
              </a:ext>
            </a:extLst>
          </p:cNvPr>
          <p:cNvSpPr/>
          <p:nvPr/>
        </p:nvSpPr>
        <p:spPr>
          <a:xfrm>
            <a:off x="8979458" y="2233466"/>
            <a:ext cx="475701" cy="212299"/>
          </a:xfrm>
          <a:prstGeom prst="rect">
            <a:avLst/>
          </a:prstGeom>
          <a:solidFill>
            <a:srgbClr val="FFFFFF"/>
          </a:solidFill>
          <a:ln w="127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GCI</a:t>
            </a: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C506A4AA-FCB3-45B4-B3F4-65268296A051}"/>
              </a:ext>
            </a:extLst>
          </p:cNvPr>
          <p:cNvSpPr/>
          <p:nvPr/>
        </p:nvSpPr>
        <p:spPr>
          <a:xfrm>
            <a:off x="5800469" y="3487986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GCI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AE70C292-631F-4FBA-9407-4F63FA529DB7}"/>
              </a:ext>
            </a:extLst>
          </p:cNvPr>
          <p:cNvSpPr/>
          <p:nvPr/>
        </p:nvSpPr>
        <p:spPr>
          <a:xfrm>
            <a:off x="2580534" y="3581689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GCI</a:t>
            </a:r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20DF9912-3C8C-4E4C-AED3-8A1393F70375}"/>
              </a:ext>
            </a:extLst>
          </p:cNvPr>
          <p:cNvSpPr/>
          <p:nvPr/>
        </p:nvSpPr>
        <p:spPr>
          <a:xfrm>
            <a:off x="846618" y="4695546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0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J</a:t>
            </a:r>
          </a:p>
        </p:txBody>
      </p:sp>
      <p:sp>
        <p:nvSpPr>
          <p:cNvPr id="121" name="CuadroTexto 120">
            <a:extLst>
              <a:ext uri="{FF2B5EF4-FFF2-40B4-BE49-F238E27FC236}">
                <a16:creationId xmlns:a16="http://schemas.microsoft.com/office/drawing/2014/main" id="{2E4219D0-FC12-4E35-8DC3-7D8033FAE51A}"/>
              </a:ext>
            </a:extLst>
          </p:cNvPr>
          <p:cNvSpPr txBox="1"/>
          <p:nvPr/>
        </p:nvSpPr>
        <p:spPr>
          <a:xfrm>
            <a:off x="6121148" y="5898512"/>
            <a:ext cx="1520344" cy="261610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50">
                <a:solidFill>
                  <a:schemeClr val="tx2"/>
                </a:solidFill>
              </a:rPr>
              <a:t>Palanca de Agilidad </a:t>
            </a:r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122" name="CuadroTexto 121">
            <a:extLst>
              <a:ext uri="{FF2B5EF4-FFF2-40B4-BE49-F238E27FC236}">
                <a16:creationId xmlns:a16="http://schemas.microsoft.com/office/drawing/2014/main" id="{F59AC007-B728-4703-B31F-7E86BF727532}"/>
              </a:ext>
            </a:extLst>
          </p:cNvPr>
          <p:cNvSpPr txBox="1"/>
          <p:nvPr/>
        </p:nvSpPr>
        <p:spPr>
          <a:xfrm>
            <a:off x="7812648" y="5898512"/>
            <a:ext cx="1541838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50">
                <a:solidFill>
                  <a:schemeClr val="tx2"/>
                </a:solidFill>
              </a:rPr>
              <a:t>Palanca de Claridad</a:t>
            </a:r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123" name="CuadroTexto 122">
            <a:extLst>
              <a:ext uri="{FF2B5EF4-FFF2-40B4-BE49-F238E27FC236}">
                <a16:creationId xmlns:a16="http://schemas.microsoft.com/office/drawing/2014/main" id="{6441CA6B-E4DC-4E7E-87F8-3EAF8197D2F3}"/>
              </a:ext>
            </a:extLst>
          </p:cNvPr>
          <p:cNvSpPr txBox="1"/>
          <p:nvPr/>
        </p:nvSpPr>
        <p:spPr>
          <a:xfrm>
            <a:off x="9523171" y="5898512"/>
            <a:ext cx="1793088" cy="261610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50">
                <a:solidFill>
                  <a:schemeClr val="tx2"/>
                </a:solidFill>
              </a:rPr>
              <a:t>Palanca de Consistencia</a:t>
            </a:r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104" name="Elipse 103">
            <a:extLst>
              <a:ext uri="{FF2B5EF4-FFF2-40B4-BE49-F238E27FC236}">
                <a16:creationId xmlns:a16="http://schemas.microsoft.com/office/drawing/2014/main" id="{0326A105-08B6-409E-9596-07BD7645DEAE}"/>
              </a:ext>
            </a:extLst>
          </p:cNvPr>
          <p:cNvSpPr/>
          <p:nvPr/>
        </p:nvSpPr>
        <p:spPr>
          <a:xfrm>
            <a:off x="3075920" y="572585"/>
            <a:ext cx="233104" cy="19182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3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C663BB5A-D4A1-45C8-A094-4E132713CB94}"/>
              </a:ext>
            </a:extLst>
          </p:cNvPr>
          <p:cNvSpPr/>
          <p:nvPr/>
        </p:nvSpPr>
        <p:spPr>
          <a:xfrm>
            <a:off x="5790997" y="2954120"/>
            <a:ext cx="475200" cy="212576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RLCA</a:t>
            </a:r>
          </a:p>
        </p:txBody>
      </p:sp>
      <p:sp>
        <p:nvSpPr>
          <p:cNvPr id="117" name="Elipse 116">
            <a:extLst>
              <a:ext uri="{FF2B5EF4-FFF2-40B4-BE49-F238E27FC236}">
                <a16:creationId xmlns:a16="http://schemas.microsoft.com/office/drawing/2014/main" id="{814287F0-FD88-4F23-8E9B-B8E6D32189B3}"/>
              </a:ext>
            </a:extLst>
          </p:cNvPr>
          <p:cNvSpPr/>
          <p:nvPr/>
        </p:nvSpPr>
        <p:spPr>
          <a:xfrm>
            <a:off x="8265222" y="559957"/>
            <a:ext cx="233104" cy="204449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6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29" name="Rectángulo 128">
            <a:extLst>
              <a:ext uri="{FF2B5EF4-FFF2-40B4-BE49-F238E27FC236}">
                <a16:creationId xmlns:a16="http://schemas.microsoft.com/office/drawing/2014/main" id="{5962802C-2649-407C-939E-A33D22B31BE7}"/>
              </a:ext>
            </a:extLst>
          </p:cNvPr>
          <p:cNvSpPr/>
          <p:nvPr/>
        </p:nvSpPr>
        <p:spPr>
          <a:xfrm>
            <a:off x="9325111" y="5620689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30" name="CuadroTexto 129">
            <a:extLst>
              <a:ext uri="{FF2B5EF4-FFF2-40B4-BE49-F238E27FC236}">
                <a16:creationId xmlns:a16="http://schemas.microsoft.com/office/drawing/2014/main" id="{AF073E07-A056-49B3-82C1-2FBAD2001CAB}"/>
              </a:ext>
            </a:extLst>
          </p:cNvPr>
          <p:cNvSpPr txBox="1"/>
          <p:nvPr/>
        </p:nvSpPr>
        <p:spPr>
          <a:xfrm>
            <a:off x="9727456" y="5536025"/>
            <a:ext cx="1200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Comité Convenios</a:t>
            </a:r>
          </a:p>
          <a:p>
            <a:r>
              <a:rPr lang="es-ES" sz="900">
                <a:solidFill>
                  <a:schemeClr val="accent1">
                    <a:lumMod val="25000"/>
                  </a:schemeClr>
                </a:solidFill>
              </a:rPr>
              <a:t>6%</a:t>
            </a:r>
            <a:endParaRPr lang="es-CO" sz="9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96" name="Rectangle 30">
            <a:extLst>
              <a:ext uri="{FF2B5EF4-FFF2-40B4-BE49-F238E27FC236}">
                <a16:creationId xmlns:a16="http://schemas.microsoft.com/office/drawing/2014/main" id="{7B02AB4C-AF68-4F54-A894-07E00267D5F8}"/>
              </a:ext>
            </a:extLst>
          </p:cNvPr>
          <p:cNvSpPr>
            <a:spLocks/>
          </p:cNvSpPr>
          <p:nvPr/>
        </p:nvSpPr>
        <p:spPr>
          <a:xfrm>
            <a:off x="10940538" y="1527187"/>
            <a:ext cx="1172404" cy="484781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Superiores 100 SMLMV*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98" name="Rectángulo 97">
            <a:extLst>
              <a:ext uri="{FF2B5EF4-FFF2-40B4-BE49-F238E27FC236}">
                <a16:creationId xmlns:a16="http://schemas.microsoft.com/office/drawing/2014/main" id="{E063C35E-5F1D-47CE-B7FD-7A60EAA52B74}"/>
              </a:ext>
            </a:extLst>
          </p:cNvPr>
          <p:cNvSpPr>
            <a:spLocks/>
          </p:cNvSpPr>
          <p:nvPr/>
        </p:nvSpPr>
        <p:spPr>
          <a:xfrm>
            <a:off x="10899301" y="633356"/>
            <a:ext cx="1203142" cy="827043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 dirty="0">
                <a:solidFill>
                  <a:schemeClr val="tx2"/>
                </a:solidFill>
              </a:rPr>
              <a:t>Aprobar acuerdos y convenios y sus correspondientes modificaciones</a:t>
            </a:r>
            <a:endParaRPr lang="es-CO" sz="1000" dirty="0">
              <a:solidFill>
                <a:schemeClr val="tx2"/>
              </a:solidFill>
            </a:endParaRPr>
          </a:p>
        </p:txBody>
      </p:sp>
      <p:sp>
        <p:nvSpPr>
          <p:cNvPr id="115" name="Elipse 114">
            <a:extLst>
              <a:ext uri="{FF2B5EF4-FFF2-40B4-BE49-F238E27FC236}">
                <a16:creationId xmlns:a16="http://schemas.microsoft.com/office/drawing/2014/main" id="{A59199E4-369E-4696-83DF-966F47A0CEA9}"/>
              </a:ext>
            </a:extLst>
          </p:cNvPr>
          <p:cNvSpPr/>
          <p:nvPr/>
        </p:nvSpPr>
        <p:spPr>
          <a:xfrm>
            <a:off x="9550883" y="574883"/>
            <a:ext cx="257607" cy="189523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7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18" name="Rectangle 30">
            <a:extLst>
              <a:ext uri="{FF2B5EF4-FFF2-40B4-BE49-F238E27FC236}">
                <a16:creationId xmlns:a16="http://schemas.microsoft.com/office/drawing/2014/main" id="{64EFC33F-DCB8-4E12-BB79-FF971CD49817}"/>
              </a:ext>
            </a:extLst>
          </p:cNvPr>
          <p:cNvSpPr>
            <a:spLocks/>
          </p:cNvSpPr>
          <p:nvPr/>
        </p:nvSpPr>
        <p:spPr>
          <a:xfrm>
            <a:off x="10940538" y="2258804"/>
            <a:ext cx="1181737" cy="364266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Hasta 100 SMLMV*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40F388FF-A98F-46DD-AEF0-8BF6E1D359D0}"/>
              </a:ext>
            </a:extLst>
          </p:cNvPr>
          <p:cNvSpPr/>
          <p:nvPr/>
        </p:nvSpPr>
        <p:spPr>
          <a:xfrm>
            <a:off x="11553376" y="1927779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CC</a:t>
            </a:r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C7385631-F46B-4467-A200-320CE070B85F}"/>
              </a:ext>
            </a:extLst>
          </p:cNvPr>
          <p:cNvSpPr/>
          <p:nvPr/>
        </p:nvSpPr>
        <p:spPr>
          <a:xfrm>
            <a:off x="11587329" y="2618358"/>
            <a:ext cx="579600" cy="212042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10B195B-8AE1-429A-A6E9-D3A5F6C028A0}"/>
              </a:ext>
            </a:extLst>
          </p:cNvPr>
          <p:cNvSpPr/>
          <p:nvPr/>
        </p:nvSpPr>
        <p:spPr>
          <a:xfrm>
            <a:off x="10188111" y="1623008"/>
            <a:ext cx="577765" cy="212300"/>
          </a:xfrm>
          <a:prstGeom prst="rect">
            <a:avLst/>
          </a:prstGeom>
          <a:solidFill>
            <a:srgbClr val="FFFFFF"/>
          </a:solidFill>
          <a:ln w="12700">
            <a:solidFill>
              <a:srgbClr val="E09AE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080A7C6-49B8-44B1-AF06-83FED3BD76CB}"/>
              </a:ext>
            </a:extLst>
          </p:cNvPr>
          <p:cNvSpPr>
            <a:spLocks/>
          </p:cNvSpPr>
          <p:nvPr/>
        </p:nvSpPr>
        <p:spPr>
          <a:xfrm>
            <a:off x="6399723" y="647147"/>
            <a:ext cx="1799388" cy="1834472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  <a:ea typeface="+mn-lt"/>
                <a:cs typeface="+mn-lt"/>
              </a:rPr>
              <a:t>Negociar, suscribir y ejecutar todo tipo de actos y contratos relacionados con la venta, arrendamiento, comodato o cualquier otra forma de disposición de activos o propiedades de la compañía (distintos a aquellos que hacen parte del Proceso de Abastecimiento)</a:t>
            </a:r>
            <a:endParaRPr lang="es-ES" sz="1000">
              <a:solidFill>
                <a:schemeClr val="tx2"/>
              </a:solidFill>
            </a:endParaRPr>
          </a:p>
        </p:txBody>
      </p:sp>
      <p:sp>
        <p:nvSpPr>
          <p:cNvPr id="113" name="Elipse 112">
            <a:extLst>
              <a:ext uri="{FF2B5EF4-FFF2-40B4-BE49-F238E27FC236}">
                <a16:creationId xmlns:a16="http://schemas.microsoft.com/office/drawing/2014/main" id="{22C84C52-FFF2-4B1D-A23E-B10150D390CA}"/>
              </a:ext>
            </a:extLst>
          </p:cNvPr>
          <p:cNvSpPr/>
          <p:nvPr/>
        </p:nvSpPr>
        <p:spPr>
          <a:xfrm>
            <a:off x="6306229" y="561169"/>
            <a:ext cx="233104" cy="203237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5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2966C3A6-C9BE-4837-9840-C5294B0B6EA7}"/>
              </a:ext>
            </a:extLst>
          </p:cNvPr>
          <p:cNvSpPr/>
          <p:nvPr/>
        </p:nvSpPr>
        <p:spPr>
          <a:xfrm>
            <a:off x="10793090" y="592653"/>
            <a:ext cx="257607" cy="171753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8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6" name="Rectangle 30">
            <a:extLst>
              <a:ext uri="{FF2B5EF4-FFF2-40B4-BE49-F238E27FC236}">
                <a16:creationId xmlns:a16="http://schemas.microsoft.com/office/drawing/2014/main" id="{851BF9CB-7987-4903-9695-F7C7EA8A06A1}"/>
              </a:ext>
            </a:extLst>
          </p:cNvPr>
          <p:cNvSpPr>
            <a:spLocks/>
          </p:cNvSpPr>
          <p:nvPr/>
        </p:nvSpPr>
        <p:spPr>
          <a:xfrm>
            <a:off x="6399723" y="2599000"/>
            <a:ext cx="1799389" cy="44958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77.000 SMLMV en adelante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A69B7E9C-1301-476B-9B8D-50B1CA3CB77F}"/>
              </a:ext>
            </a:extLst>
          </p:cNvPr>
          <p:cNvSpPr/>
          <p:nvPr/>
        </p:nvSpPr>
        <p:spPr>
          <a:xfrm>
            <a:off x="7084284" y="2985137"/>
            <a:ext cx="1172404" cy="28443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  <a:cs typeface="Arial"/>
              </a:rPr>
              <a:t>RL PREVIA APROBACIÓN JD</a:t>
            </a:r>
            <a:endParaRPr lang="es-ES" sz="800"/>
          </a:p>
        </p:txBody>
      </p:sp>
      <p:sp>
        <p:nvSpPr>
          <p:cNvPr id="10" name="CuadroTexto 47">
            <a:extLst>
              <a:ext uri="{FF2B5EF4-FFF2-40B4-BE49-F238E27FC236}">
                <a16:creationId xmlns:a16="http://schemas.microsoft.com/office/drawing/2014/main" id="{52B3D7FA-BA10-4048-AAC6-55DE52959C34}"/>
              </a:ext>
            </a:extLst>
          </p:cNvPr>
          <p:cNvSpPr txBox="1"/>
          <p:nvPr/>
        </p:nvSpPr>
        <p:spPr>
          <a:xfrm>
            <a:off x="129328" y="104595"/>
            <a:ext cx="12102613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1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 – Abastecimiento y Servicios Administrativos</a:t>
            </a:r>
            <a:endParaRPr lang="es-CO" sz="21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0991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2DBCC50-9677-4C0F-8F91-CE8AF2C207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9450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light&#10;&#10;Description automatically generated">
            <a:extLst>
              <a:ext uri="{FF2B5EF4-FFF2-40B4-BE49-F238E27FC236}">
                <a16:creationId xmlns:a16="http://schemas.microsoft.com/office/drawing/2014/main" id="{683C0F51-8C09-CE43-9A68-12C0E64311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03" y="3939967"/>
            <a:ext cx="10919593" cy="1855341"/>
          </a:xfrm>
          <a:prstGeom prst="rect">
            <a:avLst/>
          </a:prstGeom>
        </p:spPr>
      </p:pic>
      <p:sp>
        <p:nvSpPr>
          <p:cNvPr id="2" name="CuadroTexto 145">
            <a:extLst>
              <a:ext uri="{FF2B5EF4-FFF2-40B4-BE49-F238E27FC236}">
                <a16:creationId xmlns:a16="http://schemas.microsoft.com/office/drawing/2014/main" id="{465636FD-CDFE-0043-A2AE-795688D7897B}"/>
              </a:ext>
            </a:extLst>
          </p:cNvPr>
          <p:cNvSpPr txBox="1"/>
          <p:nvPr/>
        </p:nvSpPr>
        <p:spPr>
          <a:xfrm>
            <a:off x="4002009" y="2548702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/>
              <a:t>Etapas </a:t>
            </a:r>
            <a:r>
              <a:rPr lang="es-ES" sz="1800" b="0"/>
              <a:t>de </a:t>
            </a:r>
            <a:r>
              <a:rPr lang="es-ES" sz="1800"/>
              <a:t>negociación</a:t>
            </a:r>
            <a:r>
              <a:rPr lang="es-ES" sz="1800" b="0"/>
              <a:t> y de </a:t>
            </a:r>
            <a:r>
              <a:rPr lang="es-ES" sz="1800"/>
              <a:t>acuerdo</a:t>
            </a:r>
            <a:r>
              <a:rPr lang="es-ES" sz="1800" b="0"/>
              <a:t> con las filiales.</a:t>
            </a:r>
            <a:endParaRPr lang="es-CO" sz="1800"/>
          </a:p>
        </p:txBody>
      </p:sp>
      <p:sp>
        <p:nvSpPr>
          <p:cNvPr id="3" name="CuadroTexto 146">
            <a:extLst>
              <a:ext uri="{FF2B5EF4-FFF2-40B4-BE49-F238E27FC236}">
                <a16:creationId xmlns:a16="http://schemas.microsoft.com/office/drawing/2014/main" id="{77D62C3A-45C4-024F-9483-8A1D73A274A3}"/>
              </a:ext>
            </a:extLst>
          </p:cNvPr>
          <p:cNvSpPr txBox="1"/>
          <p:nvPr/>
        </p:nvSpPr>
        <p:spPr>
          <a:xfrm>
            <a:off x="4002009" y="1719004"/>
            <a:ext cx="7015399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 b="1"/>
              <a:t>Relación</a:t>
            </a:r>
            <a:r>
              <a:rPr lang="es-ES" sz="1800"/>
              <a:t> clara Matriz - </a:t>
            </a:r>
            <a:r>
              <a:rPr lang="es-ES" sz="1800" b="1"/>
              <a:t>Filiales</a:t>
            </a:r>
            <a:r>
              <a:rPr lang="es-ES" sz="1800"/>
              <a:t> (Ecopetrol – Cenit y Cenit con sus </a:t>
            </a:r>
            <a:r>
              <a:rPr lang="es-ES" sz="1800" b="1"/>
              <a:t>filiales</a:t>
            </a:r>
            <a:r>
              <a:rPr lang="es-ES" sz="1800"/>
              <a:t>).</a:t>
            </a:r>
          </a:p>
        </p:txBody>
      </p:sp>
      <p:sp>
        <p:nvSpPr>
          <p:cNvPr id="4" name="CuadroTexto 157">
            <a:extLst>
              <a:ext uri="{FF2B5EF4-FFF2-40B4-BE49-F238E27FC236}">
                <a16:creationId xmlns:a16="http://schemas.microsoft.com/office/drawing/2014/main" id="{6A31DB10-96F1-8D45-8D81-CCA502E42C15}"/>
              </a:ext>
            </a:extLst>
          </p:cNvPr>
          <p:cNvSpPr txBox="1"/>
          <p:nvPr/>
        </p:nvSpPr>
        <p:spPr>
          <a:xfrm>
            <a:off x="4002009" y="3100273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/>
              <a:t>Modelo de Relacionamiento </a:t>
            </a:r>
            <a:r>
              <a:rPr lang="es-ES" sz="1800" b="0"/>
              <a:t>para 11 de 12 macroprocesos.</a:t>
            </a:r>
            <a:endParaRPr lang="es-CO" sz="1800"/>
          </a:p>
        </p:txBody>
      </p:sp>
      <p:pic>
        <p:nvPicPr>
          <p:cNvPr id="5" name="Imagen 161" descr="Imagen que contiene plato, alimentos, dibujo&#10;&#10;Descripción generada automáticamente">
            <a:extLst>
              <a:ext uri="{FF2B5EF4-FFF2-40B4-BE49-F238E27FC236}">
                <a16:creationId xmlns:a16="http://schemas.microsoft.com/office/drawing/2014/main" id="{94885677-7B19-2C48-B6F1-0E1A52DC5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198" y="4496387"/>
            <a:ext cx="1154528" cy="1154528"/>
          </a:xfrm>
          <a:prstGeom prst="rect">
            <a:avLst/>
          </a:prstGeom>
        </p:spPr>
      </p:pic>
      <p:pic>
        <p:nvPicPr>
          <p:cNvPr id="6" name="Imagen 167" descr="Imagen que contiene dibujo&#10;&#10;Descripción generada automáticamente">
            <a:extLst>
              <a:ext uri="{FF2B5EF4-FFF2-40B4-BE49-F238E27FC236}">
                <a16:creationId xmlns:a16="http://schemas.microsoft.com/office/drawing/2014/main" id="{D6A27ED5-971F-DE4E-8750-72A34AB089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6822" y="4575044"/>
            <a:ext cx="1154528" cy="1154528"/>
          </a:xfrm>
          <a:prstGeom prst="rect">
            <a:avLst/>
          </a:prstGeom>
        </p:spPr>
      </p:pic>
      <p:pic>
        <p:nvPicPr>
          <p:cNvPr id="7" name="Imagen 169" descr="Imagen que contiene reloj, plato, señal&#10;&#10;Descripción generada automáticamente">
            <a:extLst>
              <a:ext uri="{FF2B5EF4-FFF2-40B4-BE49-F238E27FC236}">
                <a16:creationId xmlns:a16="http://schemas.microsoft.com/office/drawing/2014/main" id="{6DE5FCA8-E048-8D4C-8161-943E5E7B4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1642" y="4466973"/>
            <a:ext cx="1154528" cy="1154528"/>
          </a:xfrm>
          <a:prstGeom prst="rect">
            <a:avLst/>
          </a:prstGeom>
        </p:spPr>
      </p:pic>
      <p:sp>
        <p:nvSpPr>
          <p:cNvPr id="8" name="CuadroTexto 170">
            <a:extLst>
              <a:ext uri="{FF2B5EF4-FFF2-40B4-BE49-F238E27FC236}">
                <a16:creationId xmlns:a16="http://schemas.microsoft.com/office/drawing/2014/main" id="{D2451A65-5C54-7E48-8D52-CB24D8CE93B9}"/>
              </a:ext>
            </a:extLst>
          </p:cNvPr>
          <p:cNvSpPr txBox="1"/>
          <p:nvPr/>
        </p:nvSpPr>
        <p:spPr>
          <a:xfrm>
            <a:off x="1517285" y="4053966"/>
            <a:ext cx="1776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goci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171">
            <a:extLst>
              <a:ext uri="{FF2B5EF4-FFF2-40B4-BE49-F238E27FC236}">
                <a16:creationId xmlns:a16="http://schemas.microsoft.com/office/drawing/2014/main" id="{3EA31D6B-43E8-CB47-83EA-4134A270433D}"/>
              </a:ext>
            </a:extLst>
          </p:cNvPr>
          <p:cNvSpPr txBox="1"/>
          <p:nvPr/>
        </p:nvSpPr>
        <p:spPr>
          <a:xfrm>
            <a:off x="5387452" y="4132623"/>
            <a:ext cx="1676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prob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172">
            <a:extLst>
              <a:ext uri="{FF2B5EF4-FFF2-40B4-BE49-F238E27FC236}">
                <a16:creationId xmlns:a16="http://schemas.microsoft.com/office/drawing/2014/main" id="{2C55E4C0-E506-A544-99EF-1A4FADAE96DE}"/>
              </a:ext>
            </a:extLst>
          </p:cNvPr>
          <p:cNvSpPr txBox="1"/>
          <p:nvPr/>
        </p:nvSpPr>
        <p:spPr>
          <a:xfrm>
            <a:off x="8963355" y="4024552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plement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31">
            <a:extLst>
              <a:ext uri="{FF2B5EF4-FFF2-40B4-BE49-F238E27FC236}">
                <a16:creationId xmlns:a16="http://schemas.microsoft.com/office/drawing/2014/main" id="{CFEF7504-136F-CF4E-BC65-65D7B80E6249}"/>
              </a:ext>
            </a:extLst>
          </p:cNvPr>
          <p:cNvSpPr txBox="1"/>
          <p:nvPr/>
        </p:nvSpPr>
        <p:spPr>
          <a:xfrm>
            <a:off x="9868650" y="636959"/>
            <a:ext cx="1434642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3200" u="sng">
                <a:solidFill>
                  <a:srgbClr val="4A8347"/>
                </a:solidFill>
              </a:rPr>
              <a:t>100%</a:t>
            </a:r>
            <a:endParaRPr lang="es-CO" sz="3200" u="sng">
              <a:solidFill>
                <a:srgbClr val="4A8347"/>
              </a:solidFill>
            </a:endParaRPr>
          </a:p>
        </p:txBody>
      </p:sp>
      <p:sp>
        <p:nvSpPr>
          <p:cNvPr id="18" name="CuadroTexto 47">
            <a:extLst>
              <a:ext uri="{FF2B5EF4-FFF2-40B4-BE49-F238E27FC236}">
                <a16:creationId xmlns:a16="http://schemas.microsoft.com/office/drawing/2014/main" id="{73C77D80-3296-9F46-BA35-4412CBAF9405}"/>
              </a:ext>
            </a:extLst>
          </p:cNvPr>
          <p:cNvSpPr txBox="1"/>
          <p:nvPr/>
        </p:nvSpPr>
        <p:spPr>
          <a:xfrm>
            <a:off x="3841254" y="605209"/>
            <a:ext cx="534453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0E2C602-B151-4A8B-B98B-63ECC8DB5D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86" y="441596"/>
            <a:ext cx="2547279" cy="2554815"/>
          </a:xfrm>
          <a:prstGeom prst="rect">
            <a:avLst/>
          </a:prstGeom>
        </p:spPr>
      </p:pic>
      <p:sp>
        <p:nvSpPr>
          <p:cNvPr id="11" name="Oval 110">
            <a:extLst>
              <a:ext uri="{FF2B5EF4-FFF2-40B4-BE49-F238E27FC236}">
                <a16:creationId xmlns:a16="http://schemas.microsoft.com/office/drawing/2014/main" id="{9EB26948-AEB9-40DC-95A3-307946587810}"/>
              </a:ext>
            </a:extLst>
          </p:cNvPr>
          <p:cNvSpPr/>
          <p:nvPr/>
        </p:nvSpPr>
        <p:spPr>
          <a:xfrm>
            <a:off x="2324299" y="9016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333308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0394A36-CC20-4A8D-8DAB-D9204DC97A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24</a:t>
            </a:fld>
            <a:endParaRPr lang="es-CO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60144380-CBE4-4263-86E5-F4A7E5CEC0BB}"/>
              </a:ext>
            </a:extLst>
          </p:cNvPr>
          <p:cNvSpPr txBox="1">
            <a:spLocks/>
          </p:cNvSpPr>
          <p:nvPr/>
        </p:nvSpPr>
        <p:spPr>
          <a:xfrm>
            <a:off x="129328" y="868936"/>
            <a:ext cx="6570118" cy="4343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2F655C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s-ES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mos nuestro relacionamiento a las filiales en…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35E60B3-FFBE-4EF9-967C-09104A4E6C2E}"/>
              </a:ext>
            </a:extLst>
          </p:cNvPr>
          <p:cNvSpPr/>
          <p:nvPr/>
        </p:nvSpPr>
        <p:spPr>
          <a:xfrm>
            <a:off x="274218" y="1589440"/>
            <a:ext cx="4595312" cy="3987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solidFill>
                  <a:schemeClr val="tx2"/>
                </a:solidFill>
              </a:rPr>
              <a:t>Dirección</a:t>
            </a:r>
            <a:endParaRPr lang="es-CO" sz="1400" b="1" dirty="0">
              <a:solidFill>
                <a:schemeClr val="tx2"/>
              </a:solidFill>
            </a:endParaRPr>
          </a:p>
        </p:txBody>
      </p:sp>
      <p:sp>
        <p:nvSpPr>
          <p:cNvPr id="7" name="TextBox 30">
            <a:extLst>
              <a:ext uri="{FF2B5EF4-FFF2-40B4-BE49-F238E27FC236}">
                <a16:creationId xmlns:a16="http://schemas.microsoft.com/office/drawing/2014/main" id="{49F21896-A687-4F29-8499-091C5F1FE37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4218" y="2073105"/>
            <a:ext cx="4595312" cy="3200876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vert="horz" wrap="square" lIns="36000" tIns="0" rIns="3600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s-E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 algn="just"/>
            <a:r>
              <a:rPr lang="es-ES" sz="1600" dirty="0">
                <a:solidFill>
                  <a:schemeClr val="tx2"/>
                </a:solidFill>
              </a:rPr>
              <a:t>Captura de valor de los contratos en las categorías que corresponda.</a:t>
            </a:r>
          </a:p>
          <a:p>
            <a:pPr lvl="1" algn="just"/>
            <a:endParaRPr lang="es-ES" sz="1600" dirty="0">
              <a:solidFill>
                <a:schemeClr val="tx2"/>
              </a:solidFill>
            </a:endParaRPr>
          </a:p>
          <a:p>
            <a:pPr lvl="1" algn="just"/>
            <a:r>
              <a:rPr lang="es-ES" sz="1600" dirty="0">
                <a:solidFill>
                  <a:schemeClr val="tx2"/>
                </a:solidFill>
              </a:rPr>
              <a:t>Cubrimiento de riesgos en la contratación aplicable al segmento de transporte.</a:t>
            </a:r>
          </a:p>
          <a:p>
            <a:pPr lvl="1" algn="just"/>
            <a:endParaRPr lang="es-ES" sz="1600" dirty="0">
              <a:solidFill>
                <a:schemeClr val="tx2"/>
              </a:solidFill>
            </a:endParaRPr>
          </a:p>
          <a:p>
            <a:pPr lvl="1" algn="just"/>
            <a:r>
              <a:rPr lang="es-ES" sz="1600" dirty="0">
                <a:solidFill>
                  <a:schemeClr val="tx2"/>
                </a:solidFill>
              </a:rPr>
              <a:t>Relacionamiento con proveedores.</a:t>
            </a:r>
          </a:p>
          <a:p>
            <a:pPr lvl="1" algn="just"/>
            <a:endParaRPr lang="es-ES" sz="1600" dirty="0">
              <a:solidFill>
                <a:schemeClr val="tx2"/>
              </a:solidFill>
            </a:endParaRPr>
          </a:p>
          <a:p>
            <a:pPr lvl="1" algn="just"/>
            <a:r>
              <a:rPr lang="es-ES" sz="1600" dirty="0">
                <a:solidFill>
                  <a:schemeClr val="tx2"/>
                </a:solidFill>
              </a:rPr>
              <a:t>Consolidar y analizar el plan de abastecimiento integrado de todas las empresas del segmento para unificar demanda y optimizar gestión de compras, entendiendo similitudes del árbol de categorías.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81A81C5F-F714-4D52-A962-FC37F5FDCEB1}"/>
              </a:ext>
            </a:extLst>
          </p:cNvPr>
          <p:cNvSpPr/>
          <p:nvPr/>
        </p:nvSpPr>
        <p:spPr>
          <a:xfrm>
            <a:off x="5015682" y="1603678"/>
            <a:ext cx="3257550" cy="3880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2"/>
                </a:solidFill>
              </a:rPr>
              <a:t>Control</a:t>
            </a:r>
            <a:endParaRPr lang="es-CO" sz="1400" b="1" err="1">
              <a:solidFill>
                <a:schemeClr val="tx2"/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584AA256-4158-427B-9200-1F1C0296A486}"/>
              </a:ext>
            </a:extLst>
          </p:cNvPr>
          <p:cNvSpPr/>
          <p:nvPr/>
        </p:nvSpPr>
        <p:spPr>
          <a:xfrm>
            <a:off x="5015682" y="2076565"/>
            <a:ext cx="3257550" cy="1323439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tx2"/>
                </a:solidFill>
              </a:rPr>
              <a:t>Identificar, hacer seguimiento periódico y tomar decisiones a partir de indicadores y métricas estratégicas que monitorean el desempeño del proceso​.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EF69960-2302-4C37-B17A-2E116254781D}"/>
              </a:ext>
            </a:extLst>
          </p:cNvPr>
          <p:cNvSpPr/>
          <p:nvPr/>
        </p:nvSpPr>
        <p:spPr>
          <a:xfrm>
            <a:off x="8419384" y="1589440"/>
            <a:ext cx="3144075" cy="38809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2"/>
                </a:solidFill>
              </a:rPr>
              <a:t>Servicio</a:t>
            </a:r>
            <a:endParaRPr lang="es-CO" sz="1400" b="1" err="1">
              <a:solidFill>
                <a:schemeClr val="tx2"/>
              </a:solidFill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BE3FDB33-82DE-49B7-85B7-9476B27F9C30}"/>
              </a:ext>
            </a:extLst>
          </p:cNvPr>
          <p:cNvSpPr/>
          <p:nvPr/>
        </p:nvSpPr>
        <p:spPr>
          <a:xfrm>
            <a:off x="8443214" y="2088486"/>
            <a:ext cx="3120245" cy="1323439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tx2"/>
                </a:solidFill>
              </a:rPr>
              <a:t>Prestar servicios administrativos a empresas filiales del Grupo Ecopetrol en operaciones conjuntas o cuando las filiales lo requieran</a:t>
            </a:r>
          </a:p>
        </p:txBody>
      </p:sp>
      <p:sp>
        <p:nvSpPr>
          <p:cNvPr id="18" name="CustomIcon">
            <a:extLst>
              <a:ext uri="{FF2B5EF4-FFF2-40B4-BE49-F238E27FC236}">
                <a16:creationId xmlns:a16="http://schemas.microsoft.com/office/drawing/2014/main" id="{B5FA47DF-667C-4E6C-9D12-E5E5CEA490D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472726" y="1670879"/>
            <a:ext cx="235982" cy="241422"/>
          </a:xfrm>
          <a:custGeom>
            <a:avLst/>
            <a:gdLst>
              <a:gd name="T0" fmla="*/ 1162 w 3202"/>
              <a:gd name="T1" fmla="*/ 0 h 2668"/>
              <a:gd name="T2" fmla="*/ 1091 w 3202"/>
              <a:gd name="T3" fmla="*/ 626 h 2668"/>
              <a:gd name="T4" fmla="*/ 127 w 3202"/>
              <a:gd name="T5" fmla="*/ 697 h 2668"/>
              <a:gd name="T6" fmla="*/ 71 w 3202"/>
              <a:gd name="T7" fmla="*/ 2146 h 2668"/>
              <a:gd name="T8" fmla="*/ 0 w 3202"/>
              <a:gd name="T9" fmla="*/ 2597 h 2668"/>
              <a:gd name="T10" fmla="*/ 2730 w 3202"/>
              <a:gd name="T11" fmla="*/ 2668 h 2668"/>
              <a:gd name="T12" fmla="*/ 2801 w 3202"/>
              <a:gd name="T13" fmla="*/ 2217 h 2668"/>
              <a:gd name="T14" fmla="*/ 2674 w 3202"/>
              <a:gd name="T15" fmla="*/ 2146 h 2668"/>
              <a:gd name="T16" fmla="*/ 3131 w 3202"/>
              <a:gd name="T17" fmla="*/ 1127 h 2668"/>
              <a:gd name="T18" fmla="*/ 3202 w 3202"/>
              <a:gd name="T19" fmla="*/ 71 h 2668"/>
              <a:gd name="T20" fmla="*/ 2659 w 3202"/>
              <a:gd name="T21" fmla="*/ 2526 h 2668"/>
              <a:gd name="T22" fmla="*/ 142 w 3202"/>
              <a:gd name="T23" fmla="*/ 2288 h 2668"/>
              <a:gd name="T24" fmla="*/ 950 w 3202"/>
              <a:gd name="T25" fmla="*/ 2288 h 2668"/>
              <a:gd name="T26" fmla="*/ 1021 w 3202"/>
              <a:gd name="T27" fmla="*/ 2414 h 2668"/>
              <a:gd name="T28" fmla="*/ 1851 w 3202"/>
              <a:gd name="T29" fmla="*/ 2343 h 2668"/>
              <a:gd name="T30" fmla="*/ 2603 w 3202"/>
              <a:gd name="T31" fmla="*/ 2288 h 2668"/>
              <a:gd name="T32" fmla="*/ 2659 w 3202"/>
              <a:gd name="T33" fmla="*/ 2526 h 2668"/>
              <a:gd name="T34" fmla="*/ 1780 w 3202"/>
              <a:gd name="T35" fmla="*/ 2146 h 2668"/>
              <a:gd name="T36" fmla="*/ 268 w 3202"/>
              <a:gd name="T37" fmla="*/ 2146 h 2668"/>
              <a:gd name="T38" fmla="*/ 1091 w 3202"/>
              <a:gd name="T39" fmla="*/ 768 h 2668"/>
              <a:gd name="T40" fmla="*/ 1162 w 3202"/>
              <a:gd name="T41" fmla="*/ 1127 h 2668"/>
              <a:gd name="T42" fmla="*/ 1419 w 3202"/>
              <a:gd name="T43" fmla="*/ 1466 h 2668"/>
              <a:gd name="T44" fmla="*/ 1466 w 3202"/>
              <a:gd name="T45" fmla="*/ 1533 h 2668"/>
              <a:gd name="T46" fmla="*/ 1475 w 3202"/>
              <a:gd name="T47" fmla="*/ 1535 h 2668"/>
              <a:gd name="T48" fmla="*/ 1482 w 3202"/>
              <a:gd name="T49" fmla="*/ 1537 h 2668"/>
              <a:gd name="T50" fmla="*/ 1490 w 3202"/>
              <a:gd name="T51" fmla="*/ 1537 h 2668"/>
              <a:gd name="T52" fmla="*/ 1491 w 3202"/>
              <a:gd name="T53" fmla="*/ 1537 h 2668"/>
              <a:gd name="T54" fmla="*/ 1497 w 3202"/>
              <a:gd name="T55" fmla="*/ 1537 h 2668"/>
              <a:gd name="T56" fmla="*/ 1503 w 3202"/>
              <a:gd name="T57" fmla="*/ 1536 h 2668"/>
              <a:gd name="T58" fmla="*/ 1508 w 3202"/>
              <a:gd name="T59" fmla="*/ 1535 h 2668"/>
              <a:gd name="T60" fmla="*/ 1515 w 3202"/>
              <a:gd name="T61" fmla="*/ 1533 h 2668"/>
              <a:gd name="T62" fmla="*/ 1521 w 3202"/>
              <a:gd name="T63" fmla="*/ 1530 h 2668"/>
              <a:gd name="T64" fmla="*/ 1526 w 3202"/>
              <a:gd name="T65" fmla="*/ 1527 h 2668"/>
              <a:gd name="T66" fmla="*/ 1531 w 3202"/>
              <a:gd name="T67" fmla="*/ 1524 h 2668"/>
              <a:gd name="T68" fmla="*/ 2008 w 3202"/>
              <a:gd name="T69" fmla="*/ 1127 h 2668"/>
              <a:gd name="T70" fmla="*/ 2532 w 3202"/>
              <a:gd name="T71" fmla="*/ 2146 h 2668"/>
              <a:gd name="T72" fmla="*/ 2603 w 3202"/>
              <a:gd name="T73" fmla="*/ 985 h 2668"/>
              <a:gd name="T74" fmla="*/ 1937 w 3202"/>
              <a:gd name="T75" fmla="*/ 1001 h 2668"/>
              <a:gd name="T76" fmla="*/ 1561 w 3202"/>
              <a:gd name="T77" fmla="*/ 1056 h 2668"/>
              <a:gd name="T78" fmla="*/ 1233 w 3202"/>
              <a:gd name="T79" fmla="*/ 985 h 2668"/>
              <a:gd name="T80" fmla="*/ 1233 w 3202"/>
              <a:gd name="T81" fmla="*/ 142 h 2668"/>
              <a:gd name="T82" fmla="*/ 3060 w 3202"/>
              <a:gd name="T83" fmla="*/ 985 h 2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02" h="2668">
                <a:moveTo>
                  <a:pt x="3131" y="0"/>
                </a:moveTo>
                <a:cubicBezTo>
                  <a:pt x="1162" y="0"/>
                  <a:pt x="1162" y="0"/>
                  <a:pt x="1162" y="0"/>
                </a:cubicBezTo>
                <a:cubicBezTo>
                  <a:pt x="1123" y="0"/>
                  <a:pt x="1091" y="32"/>
                  <a:pt x="1091" y="71"/>
                </a:cubicBezTo>
                <a:cubicBezTo>
                  <a:pt x="1091" y="626"/>
                  <a:pt x="1091" y="626"/>
                  <a:pt x="1091" y="626"/>
                </a:cubicBezTo>
                <a:cubicBezTo>
                  <a:pt x="198" y="626"/>
                  <a:pt x="198" y="626"/>
                  <a:pt x="198" y="626"/>
                </a:cubicBezTo>
                <a:cubicBezTo>
                  <a:pt x="158" y="626"/>
                  <a:pt x="127" y="658"/>
                  <a:pt x="127" y="697"/>
                </a:cubicBezTo>
                <a:cubicBezTo>
                  <a:pt x="127" y="2146"/>
                  <a:pt x="127" y="2146"/>
                  <a:pt x="127" y="2146"/>
                </a:cubicBezTo>
                <a:cubicBezTo>
                  <a:pt x="71" y="2146"/>
                  <a:pt x="71" y="2146"/>
                  <a:pt x="71" y="2146"/>
                </a:cubicBezTo>
                <a:cubicBezTo>
                  <a:pt x="32" y="2146"/>
                  <a:pt x="0" y="2178"/>
                  <a:pt x="0" y="2217"/>
                </a:cubicBezTo>
                <a:cubicBezTo>
                  <a:pt x="0" y="2597"/>
                  <a:pt x="0" y="2597"/>
                  <a:pt x="0" y="2597"/>
                </a:cubicBezTo>
                <a:cubicBezTo>
                  <a:pt x="0" y="2636"/>
                  <a:pt x="32" y="2668"/>
                  <a:pt x="71" y="2668"/>
                </a:cubicBezTo>
                <a:cubicBezTo>
                  <a:pt x="2730" y="2668"/>
                  <a:pt x="2730" y="2668"/>
                  <a:pt x="2730" y="2668"/>
                </a:cubicBezTo>
                <a:cubicBezTo>
                  <a:pt x="2769" y="2668"/>
                  <a:pt x="2801" y="2636"/>
                  <a:pt x="2801" y="2597"/>
                </a:cubicBezTo>
                <a:cubicBezTo>
                  <a:pt x="2801" y="2217"/>
                  <a:pt x="2801" y="2217"/>
                  <a:pt x="2801" y="2217"/>
                </a:cubicBezTo>
                <a:cubicBezTo>
                  <a:pt x="2801" y="2178"/>
                  <a:pt x="2769" y="2146"/>
                  <a:pt x="2730" y="2146"/>
                </a:cubicBezTo>
                <a:cubicBezTo>
                  <a:pt x="2674" y="2146"/>
                  <a:pt x="2674" y="2146"/>
                  <a:pt x="2674" y="2146"/>
                </a:cubicBezTo>
                <a:cubicBezTo>
                  <a:pt x="2674" y="1127"/>
                  <a:pt x="2674" y="1127"/>
                  <a:pt x="2674" y="1127"/>
                </a:cubicBezTo>
                <a:cubicBezTo>
                  <a:pt x="3131" y="1127"/>
                  <a:pt x="3131" y="1127"/>
                  <a:pt x="3131" y="1127"/>
                </a:cubicBezTo>
                <a:cubicBezTo>
                  <a:pt x="3170" y="1127"/>
                  <a:pt x="3202" y="1095"/>
                  <a:pt x="3202" y="1056"/>
                </a:cubicBezTo>
                <a:cubicBezTo>
                  <a:pt x="3202" y="71"/>
                  <a:pt x="3202" y="71"/>
                  <a:pt x="3202" y="71"/>
                </a:cubicBezTo>
                <a:cubicBezTo>
                  <a:pt x="3202" y="32"/>
                  <a:pt x="3170" y="0"/>
                  <a:pt x="3131" y="0"/>
                </a:cubicBezTo>
                <a:close/>
                <a:moveTo>
                  <a:pt x="2659" y="2526"/>
                </a:moveTo>
                <a:cubicBezTo>
                  <a:pt x="142" y="2526"/>
                  <a:pt x="142" y="2526"/>
                  <a:pt x="142" y="2526"/>
                </a:cubicBezTo>
                <a:cubicBezTo>
                  <a:pt x="142" y="2288"/>
                  <a:pt x="142" y="2288"/>
                  <a:pt x="142" y="2288"/>
                </a:cubicBezTo>
                <a:cubicBezTo>
                  <a:pt x="198" y="2288"/>
                  <a:pt x="198" y="2288"/>
                  <a:pt x="198" y="2288"/>
                </a:cubicBezTo>
                <a:cubicBezTo>
                  <a:pt x="950" y="2288"/>
                  <a:pt x="950" y="2288"/>
                  <a:pt x="950" y="2288"/>
                </a:cubicBezTo>
                <a:cubicBezTo>
                  <a:pt x="950" y="2343"/>
                  <a:pt x="950" y="2343"/>
                  <a:pt x="950" y="2343"/>
                </a:cubicBezTo>
                <a:cubicBezTo>
                  <a:pt x="950" y="2383"/>
                  <a:pt x="981" y="2414"/>
                  <a:pt x="1021" y="2414"/>
                </a:cubicBezTo>
                <a:cubicBezTo>
                  <a:pt x="1780" y="2414"/>
                  <a:pt x="1780" y="2414"/>
                  <a:pt x="1780" y="2414"/>
                </a:cubicBezTo>
                <a:cubicBezTo>
                  <a:pt x="1819" y="2414"/>
                  <a:pt x="1851" y="2383"/>
                  <a:pt x="1851" y="2343"/>
                </a:cubicBezTo>
                <a:cubicBezTo>
                  <a:pt x="1851" y="2288"/>
                  <a:pt x="1851" y="2288"/>
                  <a:pt x="1851" y="2288"/>
                </a:cubicBezTo>
                <a:cubicBezTo>
                  <a:pt x="2603" y="2288"/>
                  <a:pt x="2603" y="2288"/>
                  <a:pt x="2603" y="2288"/>
                </a:cubicBezTo>
                <a:cubicBezTo>
                  <a:pt x="2659" y="2288"/>
                  <a:pt x="2659" y="2288"/>
                  <a:pt x="2659" y="2288"/>
                </a:cubicBezTo>
                <a:lnTo>
                  <a:pt x="2659" y="2526"/>
                </a:lnTo>
                <a:close/>
                <a:moveTo>
                  <a:pt x="2532" y="2146"/>
                </a:moveTo>
                <a:cubicBezTo>
                  <a:pt x="1780" y="2146"/>
                  <a:pt x="1780" y="2146"/>
                  <a:pt x="1780" y="2146"/>
                </a:cubicBezTo>
                <a:cubicBezTo>
                  <a:pt x="1021" y="2146"/>
                  <a:pt x="1021" y="2146"/>
                  <a:pt x="1021" y="2146"/>
                </a:cubicBezTo>
                <a:cubicBezTo>
                  <a:pt x="268" y="2146"/>
                  <a:pt x="268" y="2146"/>
                  <a:pt x="268" y="2146"/>
                </a:cubicBezTo>
                <a:cubicBezTo>
                  <a:pt x="268" y="768"/>
                  <a:pt x="268" y="768"/>
                  <a:pt x="268" y="768"/>
                </a:cubicBezTo>
                <a:cubicBezTo>
                  <a:pt x="1091" y="768"/>
                  <a:pt x="1091" y="768"/>
                  <a:pt x="1091" y="768"/>
                </a:cubicBezTo>
                <a:cubicBezTo>
                  <a:pt x="1091" y="1056"/>
                  <a:pt x="1091" y="1056"/>
                  <a:pt x="1091" y="1056"/>
                </a:cubicBezTo>
                <a:cubicBezTo>
                  <a:pt x="1091" y="1095"/>
                  <a:pt x="1123" y="1127"/>
                  <a:pt x="1162" y="1127"/>
                </a:cubicBezTo>
                <a:cubicBezTo>
                  <a:pt x="1419" y="1127"/>
                  <a:pt x="1419" y="1127"/>
                  <a:pt x="1419" y="1127"/>
                </a:cubicBezTo>
                <a:cubicBezTo>
                  <a:pt x="1419" y="1466"/>
                  <a:pt x="1419" y="1466"/>
                  <a:pt x="1419" y="1466"/>
                </a:cubicBezTo>
                <a:cubicBezTo>
                  <a:pt x="1419" y="1494"/>
                  <a:pt x="1435" y="1519"/>
                  <a:pt x="1460" y="1530"/>
                </a:cubicBezTo>
                <a:cubicBezTo>
                  <a:pt x="1462" y="1531"/>
                  <a:pt x="1464" y="1532"/>
                  <a:pt x="1466" y="1533"/>
                </a:cubicBezTo>
                <a:cubicBezTo>
                  <a:pt x="1467" y="1533"/>
                  <a:pt x="1468" y="1533"/>
                  <a:pt x="1468" y="1534"/>
                </a:cubicBezTo>
                <a:cubicBezTo>
                  <a:pt x="1470" y="1534"/>
                  <a:pt x="1472" y="1535"/>
                  <a:pt x="1475" y="1535"/>
                </a:cubicBezTo>
                <a:cubicBezTo>
                  <a:pt x="1475" y="1535"/>
                  <a:pt x="1475" y="1535"/>
                  <a:pt x="1475" y="1536"/>
                </a:cubicBezTo>
                <a:cubicBezTo>
                  <a:pt x="1477" y="1536"/>
                  <a:pt x="1479" y="1536"/>
                  <a:pt x="1482" y="1537"/>
                </a:cubicBezTo>
                <a:cubicBezTo>
                  <a:pt x="1482" y="1537"/>
                  <a:pt x="1483" y="1537"/>
                  <a:pt x="1483" y="1537"/>
                </a:cubicBezTo>
                <a:cubicBezTo>
                  <a:pt x="1485" y="1537"/>
                  <a:pt x="1488" y="1537"/>
                  <a:pt x="1490" y="1537"/>
                </a:cubicBezTo>
                <a:cubicBezTo>
                  <a:pt x="1490" y="1537"/>
                  <a:pt x="1490" y="1537"/>
                  <a:pt x="1490" y="1537"/>
                </a:cubicBezTo>
                <a:cubicBezTo>
                  <a:pt x="1490" y="1537"/>
                  <a:pt x="1491" y="1537"/>
                  <a:pt x="1491" y="1537"/>
                </a:cubicBezTo>
                <a:cubicBezTo>
                  <a:pt x="1493" y="1537"/>
                  <a:pt x="1494" y="1537"/>
                  <a:pt x="1495" y="1537"/>
                </a:cubicBezTo>
                <a:cubicBezTo>
                  <a:pt x="1496" y="1537"/>
                  <a:pt x="1497" y="1537"/>
                  <a:pt x="1497" y="1537"/>
                </a:cubicBezTo>
                <a:cubicBezTo>
                  <a:pt x="1499" y="1537"/>
                  <a:pt x="1500" y="1536"/>
                  <a:pt x="1501" y="1536"/>
                </a:cubicBezTo>
                <a:cubicBezTo>
                  <a:pt x="1502" y="1536"/>
                  <a:pt x="1502" y="1536"/>
                  <a:pt x="1503" y="1536"/>
                </a:cubicBezTo>
                <a:cubicBezTo>
                  <a:pt x="1504" y="1536"/>
                  <a:pt x="1506" y="1535"/>
                  <a:pt x="1507" y="1535"/>
                </a:cubicBezTo>
                <a:cubicBezTo>
                  <a:pt x="1507" y="1535"/>
                  <a:pt x="1508" y="1535"/>
                  <a:pt x="1508" y="1535"/>
                </a:cubicBezTo>
                <a:cubicBezTo>
                  <a:pt x="1510" y="1534"/>
                  <a:pt x="1512" y="1534"/>
                  <a:pt x="1514" y="1533"/>
                </a:cubicBezTo>
                <a:cubicBezTo>
                  <a:pt x="1514" y="1533"/>
                  <a:pt x="1514" y="1533"/>
                  <a:pt x="1515" y="1533"/>
                </a:cubicBezTo>
                <a:cubicBezTo>
                  <a:pt x="1516" y="1532"/>
                  <a:pt x="1518" y="1532"/>
                  <a:pt x="1519" y="1531"/>
                </a:cubicBezTo>
                <a:cubicBezTo>
                  <a:pt x="1520" y="1531"/>
                  <a:pt x="1520" y="1530"/>
                  <a:pt x="1521" y="1530"/>
                </a:cubicBezTo>
                <a:cubicBezTo>
                  <a:pt x="1522" y="1530"/>
                  <a:pt x="1523" y="1529"/>
                  <a:pt x="1524" y="1528"/>
                </a:cubicBezTo>
                <a:cubicBezTo>
                  <a:pt x="1525" y="1528"/>
                  <a:pt x="1525" y="1528"/>
                  <a:pt x="1526" y="1527"/>
                </a:cubicBezTo>
                <a:cubicBezTo>
                  <a:pt x="1527" y="1527"/>
                  <a:pt x="1528" y="1526"/>
                  <a:pt x="1529" y="1525"/>
                </a:cubicBezTo>
                <a:cubicBezTo>
                  <a:pt x="1530" y="1525"/>
                  <a:pt x="1530" y="1525"/>
                  <a:pt x="1531" y="1524"/>
                </a:cubicBezTo>
                <a:cubicBezTo>
                  <a:pt x="1532" y="1523"/>
                  <a:pt x="1534" y="1522"/>
                  <a:pt x="1535" y="1521"/>
                </a:cubicBezTo>
                <a:cubicBezTo>
                  <a:pt x="2008" y="1127"/>
                  <a:pt x="2008" y="1127"/>
                  <a:pt x="2008" y="1127"/>
                </a:cubicBezTo>
                <a:cubicBezTo>
                  <a:pt x="2532" y="1127"/>
                  <a:pt x="2532" y="1127"/>
                  <a:pt x="2532" y="1127"/>
                </a:cubicBezTo>
                <a:lnTo>
                  <a:pt x="2532" y="2146"/>
                </a:lnTo>
                <a:close/>
                <a:moveTo>
                  <a:pt x="3060" y="985"/>
                </a:moveTo>
                <a:cubicBezTo>
                  <a:pt x="2603" y="985"/>
                  <a:pt x="2603" y="985"/>
                  <a:pt x="2603" y="985"/>
                </a:cubicBezTo>
                <a:cubicBezTo>
                  <a:pt x="1982" y="985"/>
                  <a:pt x="1982" y="985"/>
                  <a:pt x="1982" y="985"/>
                </a:cubicBezTo>
                <a:cubicBezTo>
                  <a:pt x="1966" y="985"/>
                  <a:pt x="1950" y="991"/>
                  <a:pt x="1937" y="1001"/>
                </a:cubicBezTo>
                <a:cubicBezTo>
                  <a:pt x="1561" y="1315"/>
                  <a:pt x="1561" y="1315"/>
                  <a:pt x="1561" y="1315"/>
                </a:cubicBezTo>
                <a:cubicBezTo>
                  <a:pt x="1561" y="1056"/>
                  <a:pt x="1561" y="1056"/>
                  <a:pt x="1561" y="1056"/>
                </a:cubicBezTo>
                <a:cubicBezTo>
                  <a:pt x="1561" y="1017"/>
                  <a:pt x="1529" y="985"/>
                  <a:pt x="1490" y="985"/>
                </a:cubicBezTo>
                <a:cubicBezTo>
                  <a:pt x="1233" y="985"/>
                  <a:pt x="1233" y="985"/>
                  <a:pt x="1233" y="985"/>
                </a:cubicBezTo>
                <a:cubicBezTo>
                  <a:pt x="1233" y="697"/>
                  <a:pt x="1233" y="697"/>
                  <a:pt x="1233" y="697"/>
                </a:cubicBezTo>
                <a:cubicBezTo>
                  <a:pt x="1233" y="142"/>
                  <a:pt x="1233" y="142"/>
                  <a:pt x="1233" y="142"/>
                </a:cubicBezTo>
                <a:cubicBezTo>
                  <a:pt x="3060" y="142"/>
                  <a:pt x="3060" y="142"/>
                  <a:pt x="3060" y="142"/>
                </a:cubicBezTo>
                <a:lnTo>
                  <a:pt x="3060" y="985"/>
                </a:lnTo>
                <a:close/>
              </a:path>
            </a:pathLst>
          </a:custGeom>
          <a:solidFill>
            <a:srgbClr val="004236">
              <a:lumMod val="90000"/>
              <a:lumOff val="1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CO" sz="1200" kern="0">
              <a:solidFill>
                <a:schemeClr val="tx2"/>
              </a:solidFill>
            </a:endParaRPr>
          </a:p>
        </p:txBody>
      </p:sp>
      <p:pic>
        <p:nvPicPr>
          <p:cNvPr id="19" name="Graphic 47">
            <a:extLst>
              <a:ext uri="{FF2B5EF4-FFF2-40B4-BE49-F238E27FC236}">
                <a16:creationId xmlns:a16="http://schemas.microsoft.com/office/drawing/2014/main" id="{5D90D1B2-2CBD-4FED-8155-3C080DC03FC0}"/>
              </a:ext>
            </a:extLst>
          </p:cNvPr>
          <p:cNvPicPr preferRelativeResize="0"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0013" y="1645846"/>
            <a:ext cx="259200" cy="257703"/>
          </a:xfrm>
          <a:prstGeom prst="rect">
            <a:avLst/>
          </a:prstGeom>
        </p:spPr>
      </p:pic>
      <p:pic>
        <p:nvPicPr>
          <p:cNvPr id="21" name="Gráfico 20" descr="Flecha circular">
            <a:extLst>
              <a:ext uri="{FF2B5EF4-FFF2-40B4-BE49-F238E27FC236}">
                <a16:creationId xmlns:a16="http://schemas.microsoft.com/office/drawing/2014/main" id="{802D394E-E061-44FF-8816-DDC7B1B331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15682" y="1612630"/>
            <a:ext cx="398779" cy="398779"/>
          </a:xfrm>
          <a:prstGeom prst="rect">
            <a:avLst/>
          </a:prstGeom>
        </p:spPr>
      </p:pic>
      <p:sp>
        <p:nvSpPr>
          <p:cNvPr id="3" name="CuadroTexto 47">
            <a:extLst>
              <a:ext uri="{FF2B5EF4-FFF2-40B4-BE49-F238E27FC236}">
                <a16:creationId xmlns:a16="http://schemas.microsoft.com/office/drawing/2014/main" id="{B2CC9CCD-C9DB-42E7-A6F6-250ECEA52ED5}"/>
              </a:ext>
            </a:extLst>
          </p:cNvPr>
          <p:cNvSpPr txBox="1"/>
          <p:nvPr/>
        </p:nvSpPr>
        <p:spPr>
          <a:xfrm>
            <a:off x="129328" y="104595"/>
            <a:ext cx="11950377" cy="4924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6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 – Abastecimiento y Servicios Administrativos</a:t>
            </a:r>
            <a:endParaRPr lang="es-CO" sz="26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21497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301F4E9D-AF80-407A-857F-32DDC94021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334"/>
          <a:stretch/>
        </p:blipFill>
        <p:spPr>
          <a:xfrm>
            <a:off x="0" y="1674"/>
            <a:ext cx="12192000" cy="685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8312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1635120-EA93-4C06-A497-18CC51F077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61" t="4484" r="1517" b="5553"/>
          <a:stretch/>
        </p:blipFill>
        <p:spPr>
          <a:xfrm>
            <a:off x="0" y="0"/>
            <a:ext cx="1220759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3538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957EAA4A-611C-4244-89F5-F39EF823DE08}"/>
              </a:ext>
            </a:extLst>
          </p:cNvPr>
          <p:cNvSpPr txBox="1"/>
          <p:nvPr/>
        </p:nvSpPr>
        <p:spPr>
          <a:xfrm>
            <a:off x="4823857" y="3055920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>
                <a:highlight>
                  <a:srgbClr val="FFFF00"/>
                </a:highlight>
              </a:rPr>
              <a:t>Vídeo Comité Directivo</a:t>
            </a:r>
            <a:endParaRPr lang="es-CO">
              <a:highlight>
                <a:srgbClr val="FFFF00"/>
              </a:highlight>
            </a:endParaRPr>
          </a:p>
        </p:txBody>
      </p:sp>
      <p:pic>
        <p:nvPicPr>
          <p:cNvPr id="4" name="Vídeo Cierre PGC">
            <a:hlinkClick r:id="" action="ppaction://media"/>
            <a:extLst>
              <a:ext uri="{FF2B5EF4-FFF2-40B4-BE49-F238E27FC236}">
                <a16:creationId xmlns:a16="http://schemas.microsoft.com/office/drawing/2014/main" id="{70371C8E-53B3-426B-95BC-2A4DC84527D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037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831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A678B5A7-CC3B-467E-B710-A589880617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3</a:t>
            </a:fld>
            <a:endParaRPr lang="es-CO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CAAFEDC1-4B58-4913-A2A5-D711039A33B5}"/>
              </a:ext>
            </a:extLst>
          </p:cNvPr>
          <p:cNvSpPr txBox="1">
            <a:spLocks/>
          </p:cNvSpPr>
          <p:nvPr/>
        </p:nvSpPr>
        <p:spPr>
          <a:xfrm>
            <a:off x="2423410" y="132076"/>
            <a:ext cx="734518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Aspectos a tener en cuenta</a:t>
            </a:r>
          </a:p>
        </p:txBody>
      </p:sp>
      <p:sp>
        <p:nvSpPr>
          <p:cNvPr id="6" name="Diagrama de flujo: proceso alternativo 5">
            <a:extLst>
              <a:ext uri="{FF2B5EF4-FFF2-40B4-BE49-F238E27FC236}">
                <a16:creationId xmlns:a16="http://schemas.microsoft.com/office/drawing/2014/main" id="{58799CC0-6873-4D0B-983C-048852038A37}"/>
              </a:ext>
            </a:extLst>
          </p:cNvPr>
          <p:cNvSpPr/>
          <p:nvPr/>
        </p:nvSpPr>
        <p:spPr>
          <a:xfrm>
            <a:off x="3042531" y="943796"/>
            <a:ext cx="7788639" cy="1127465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 un taller que se lleva a cabo con cada Vicepresidencia, no obstante, los entregables se han construido por macroprocesos. Es posible que haya temas de la Vicepresidencia que no se vean reflejados.</a:t>
            </a:r>
          </a:p>
        </p:txBody>
      </p:sp>
      <p:sp>
        <p:nvSpPr>
          <p:cNvPr id="8" name="Diagrama de flujo: proceso alternativo 7">
            <a:extLst>
              <a:ext uri="{FF2B5EF4-FFF2-40B4-BE49-F238E27FC236}">
                <a16:creationId xmlns:a16="http://schemas.microsoft.com/office/drawing/2014/main" id="{6265FC2E-2616-458D-8F45-C7281CBBB60B}"/>
              </a:ext>
            </a:extLst>
          </p:cNvPr>
          <p:cNvSpPr/>
          <p:nvPr/>
        </p:nvSpPr>
        <p:spPr>
          <a:xfrm>
            <a:off x="3042531" y="2492591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ta sesión es grabada y el vídeo (junto con la presentación) será enviado a los asistentes para posterior consulta.</a:t>
            </a:r>
          </a:p>
        </p:txBody>
      </p:sp>
      <p:sp>
        <p:nvSpPr>
          <p:cNvPr id="10" name="Diagrama de flujo: proceso alternativo 9">
            <a:extLst>
              <a:ext uri="{FF2B5EF4-FFF2-40B4-BE49-F238E27FC236}">
                <a16:creationId xmlns:a16="http://schemas.microsoft.com/office/drawing/2014/main" id="{9E8D26C4-10B6-4A63-81EA-2EC8E1697D7A}"/>
              </a:ext>
            </a:extLst>
          </p:cNvPr>
          <p:cNvSpPr/>
          <p:nvPr/>
        </p:nvSpPr>
        <p:spPr>
          <a:xfrm>
            <a:off x="3042531" y="5017337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n caso de preguntas, les pedimos anotarlas en el chat de la reunión. Al final de la sesión se dará respuesta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F63326B-3540-4D2D-BAC8-E76D4EDF8B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967528"/>
            <a:ext cx="1080000" cy="108000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B2B16C1-B03A-447A-B036-46010E4CB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2351972"/>
            <a:ext cx="1080000" cy="108000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A9EC01C-8F83-427F-91E3-7B8D339949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4926496"/>
            <a:ext cx="1080000" cy="1080000"/>
          </a:xfrm>
          <a:prstGeom prst="rect">
            <a:avLst/>
          </a:prstGeom>
        </p:spPr>
      </p:pic>
      <p:sp>
        <p:nvSpPr>
          <p:cNvPr id="3" name="Diagrama de flujo: proceso alternativo 2">
            <a:extLst>
              <a:ext uri="{FF2B5EF4-FFF2-40B4-BE49-F238E27FC236}">
                <a16:creationId xmlns:a16="http://schemas.microsoft.com/office/drawing/2014/main" id="{00670338-F389-4E18-AB5A-894D7F0665BB}"/>
              </a:ext>
            </a:extLst>
          </p:cNvPr>
          <p:cNvSpPr/>
          <p:nvPr/>
        </p:nvSpPr>
        <p:spPr>
          <a:xfrm>
            <a:off x="3042530" y="3754964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A lo largo del taller habrá actividades lúdicas, por lo que esperamos contar con su activa participación</a:t>
            </a:r>
          </a:p>
        </p:txBody>
      </p:sp>
      <p:pic>
        <p:nvPicPr>
          <p:cNvPr id="7" name="Imagen 6" descr="Icono&#10;&#10;Descripción generada automáticamente">
            <a:extLst>
              <a:ext uri="{FF2B5EF4-FFF2-40B4-BE49-F238E27FC236}">
                <a16:creationId xmlns:a16="http://schemas.microsoft.com/office/drawing/2014/main" id="{6C1F68B0-0CBD-4E2B-A2F0-2ECF985E3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3664123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7128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5A2E55E-1082-4EBF-B81F-F2C9A9EC7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4</a:t>
            </a:fld>
            <a:endParaRPr lang="es-CO"/>
          </a:p>
        </p:txBody>
      </p:sp>
      <p:pic>
        <p:nvPicPr>
          <p:cNvPr id="3" name="Gobierno Corporativo">
            <a:hlinkClick r:id="" action="ppaction://media"/>
            <a:extLst>
              <a:ext uri="{FF2B5EF4-FFF2-40B4-BE49-F238E27FC236}">
                <a16:creationId xmlns:a16="http://schemas.microsoft.com/office/drawing/2014/main" id="{C4A8EB8B-7E0F-4094-9A33-123F6F27F6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51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35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91FAB4A-142A-434B-BB3E-E6440A7673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5</a:t>
            </a:fld>
            <a:endParaRPr lang="es-CO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B98BFC37-647B-418B-BCC1-75FEE0AF5D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E0DC0D8-EE90-46CF-B1EB-A222BC48C7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6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68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8" y="952109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 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-4" y="4856158"/>
            <a:ext cx="3186917" cy="2001842"/>
            <a:chOff x="-4" y="4856158"/>
            <a:chExt cx="3186917" cy="2001842"/>
          </a:xfrm>
        </p:grpSpPr>
        <p:sp>
          <p:nvSpPr>
            <p:cNvPr id="10" name="Triángulo rectángulo 9"/>
            <p:cNvSpPr/>
            <p:nvPr/>
          </p:nvSpPr>
          <p:spPr>
            <a:xfrm>
              <a:off x="576231" y="6102532"/>
              <a:ext cx="2610682" cy="755468"/>
            </a:xfrm>
            <a:prstGeom prst="rtTriangle">
              <a:avLst/>
            </a:prstGeom>
            <a:solidFill>
              <a:srgbClr val="F4981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12" name="Triángulo isósceles 11"/>
            <p:cNvSpPr/>
            <p:nvPr/>
          </p:nvSpPr>
          <p:spPr>
            <a:xfrm flipH="1">
              <a:off x="-4" y="4856158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3" name="Triángulo isósceles 12"/>
            <p:cNvSpPr/>
            <p:nvPr/>
          </p:nvSpPr>
          <p:spPr>
            <a:xfrm>
              <a:off x="0" y="6126049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4" name="Agrupar 13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15" name="Triángulo rectángulo 14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16" name="Triángulo isósceles 15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isósceles 16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9" name="Imagen 18" descr="Cenit_Whit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0" y="6338602"/>
            <a:ext cx="694888" cy="519398"/>
          </a:xfrm>
          <a:prstGeom prst="rect">
            <a:avLst/>
          </a:prstGeom>
        </p:spPr>
      </p:pic>
      <p:sp>
        <p:nvSpPr>
          <p:cNvPr id="20" name="Recortar rectángulo de esquina diagonal 19"/>
          <p:cNvSpPr/>
          <p:nvPr/>
        </p:nvSpPr>
        <p:spPr>
          <a:xfrm flipH="1">
            <a:off x="10047202" y="6065868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CuadroTexto 22"/>
          <p:cNvSpPr txBox="1"/>
          <p:nvPr/>
        </p:nvSpPr>
        <p:spPr>
          <a:xfrm>
            <a:off x="9730172" y="6042511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Implementación </a:t>
            </a:r>
          </a:p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de Proceso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C49F24FC-F98D-487C-B498-814F5ABEB0BF}"/>
              </a:ext>
            </a:extLst>
          </p:cNvPr>
          <p:cNvSpPr txBox="1"/>
          <p:nvPr/>
        </p:nvSpPr>
        <p:spPr>
          <a:xfrm>
            <a:off x="62679" y="362503"/>
            <a:ext cx="97480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>
                <a:solidFill>
                  <a:srgbClr val="0E3658"/>
                </a:solidFill>
                <a:latin typeface="Calibri light titulos"/>
                <a:cs typeface="Calibri light titulos"/>
              </a:rPr>
              <a:t>Modelo de Proceso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8AF4AFE-DDD0-4C85-A414-65BB48768AE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2712" y="962402"/>
            <a:ext cx="10641495" cy="5591476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C4A9CCEF-9CA8-4E63-BD72-A70A516A49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34084"/>
            <a:ext cx="2478157" cy="265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105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8" y="952109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 </a:t>
            </a:r>
          </a:p>
        </p:txBody>
      </p:sp>
      <p:grpSp>
        <p:nvGrpSpPr>
          <p:cNvPr id="11" name="Agrupar 10"/>
          <p:cNvGrpSpPr/>
          <p:nvPr/>
        </p:nvGrpSpPr>
        <p:grpSpPr>
          <a:xfrm>
            <a:off x="-4" y="4856158"/>
            <a:ext cx="3186917" cy="2001842"/>
            <a:chOff x="-4" y="4856158"/>
            <a:chExt cx="3186917" cy="2001842"/>
          </a:xfrm>
        </p:grpSpPr>
        <p:sp>
          <p:nvSpPr>
            <p:cNvPr id="12" name="Triángulo rectángulo 11"/>
            <p:cNvSpPr/>
            <p:nvPr/>
          </p:nvSpPr>
          <p:spPr>
            <a:xfrm>
              <a:off x="576231" y="6102532"/>
              <a:ext cx="2610682" cy="755468"/>
            </a:xfrm>
            <a:prstGeom prst="rtTriangle">
              <a:avLst/>
            </a:prstGeom>
            <a:solidFill>
              <a:srgbClr val="F4981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13" name="Triángulo isósceles 12"/>
            <p:cNvSpPr/>
            <p:nvPr/>
          </p:nvSpPr>
          <p:spPr>
            <a:xfrm flipH="1">
              <a:off x="-4" y="4856158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4" name="Triángulo isósceles 13"/>
            <p:cNvSpPr/>
            <p:nvPr/>
          </p:nvSpPr>
          <p:spPr>
            <a:xfrm>
              <a:off x="0" y="6126049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9" name="Agrupar 18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20" name="Triángulo rectángulo 19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21" name="Triángulo isósceles 20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2" name="Triángulo isósceles 21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6" name="Imagen 15" descr="Cenit_Whit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0" y="6338602"/>
            <a:ext cx="694888" cy="519398"/>
          </a:xfrm>
          <a:prstGeom prst="rect">
            <a:avLst/>
          </a:prstGeom>
        </p:spPr>
      </p:pic>
      <p:sp>
        <p:nvSpPr>
          <p:cNvPr id="17" name="Recortar rectángulo de esquina diagonal 16"/>
          <p:cNvSpPr/>
          <p:nvPr/>
        </p:nvSpPr>
        <p:spPr>
          <a:xfrm flipH="1">
            <a:off x="10047202" y="6065868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CuadroTexto 17"/>
          <p:cNvSpPr txBox="1"/>
          <p:nvPr/>
        </p:nvSpPr>
        <p:spPr>
          <a:xfrm>
            <a:off x="9730172" y="6042511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Implementación </a:t>
            </a:r>
          </a:p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de Proceso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F8F01AF4-864E-4177-9256-C4F8CB5AAC1F}"/>
              </a:ext>
            </a:extLst>
          </p:cNvPr>
          <p:cNvSpPr txBox="1"/>
          <p:nvPr/>
        </p:nvSpPr>
        <p:spPr>
          <a:xfrm>
            <a:off x="67737" y="228618"/>
            <a:ext cx="107676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>
                <a:solidFill>
                  <a:srgbClr val="0E3658"/>
                </a:solidFill>
                <a:latin typeface="Calibri light titulos"/>
                <a:cs typeface="Calibri light titulos"/>
              </a:rPr>
              <a:t>Lideres de Macroprocesos - Modelo de Procesos 2020</a:t>
            </a:r>
          </a:p>
          <a:p>
            <a:endParaRPr lang="es-ES" sz="3200" b="1">
              <a:solidFill>
                <a:srgbClr val="0E3658"/>
              </a:solidFill>
              <a:latin typeface="Calibri light titulos"/>
              <a:cs typeface="Calibri light titulo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17B5FCE-7B12-4970-A969-8247FB8A5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170" y="1066117"/>
            <a:ext cx="10112792" cy="5239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3889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/>
        </p:nvSpPr>
        <p:spPr>
          <a:xfrm>
            <a:off x="8" y="537121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23" name="Agrupar 22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24" name="Triángulo rectángulo 23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riángulo isósceles 24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riángulo isósceles 25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" name="Recortar rectángulo de esquina diagonal 27"/>
          <p:cNvSpPr/>
          <p:nvPr/>
        </p:nvSpPr>
        <p:spPr>
          <a:xfrm flipH="1">
            <a:off x="10047202" y="5568566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9730172" y="5545209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Implementació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de Procesos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12B1C783-BCBA-4E8F-9178-D33D5C515EFC}"/>
              </a:ext>
            </a:extLst>
          </p:cNvPr>
          <p:cNvSpPr txBox="1"/>
          <p:nvPr/>
        </p:nvSpPr>
        <p:spPr>
          <a:xfrm>
            <a:off x="155968" y="-14417"/>
            <a:ext cx="90797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srgbClr val="0E3658"/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Metodología Diseño de Procesos</a:t>
            </a:r>
          </a:p>
        </p:txBody>
      </p:sp>
      <p:sp>
        <p:nvSpPr>
          <p:cNvPr id="48" name="10 Cheurón">
            <a:extLst>
              <a:ext uri="{FF2B5EF4-FFF2-40B4-BE49-F238E27FC236}">
                <a16:creationId xmlns:a16="http://schemas.microsoft.com/office/drawing/2014/main" id="{C2B9C1FB-B696-4113-AE82-70C16D13390B}"/>
              </a:ext>
            </a:extLst>
          </p:cNvPr>
          <p:cNvSpPr/>
          <p:nvPr/>
        </p:nvSpPr>
        <p:spPr>
          <a:xfrm>
            <a:off x="1943144" y="780398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Macro proceso)</a:t>
            </a:r>
          </a:p>
        </p:txBody>
      </p:sp>
      <p:sp>
        <p:nvSpPr>
          <p:cNvPr id="49" name="11 Cheurón">
            <a:extLst>
              <a:ext uri="{FF2B5EF4-FFF2-40B4-BE49-F238E27FC236}">
                <a16:creationId xmlns:a16="http://schemas.microsoft.com/office/drawing/2014/main" id="{D2121297-E51B-4399-8F07-883520E6F03F}"/>
              </a:ext>
            </a:extLst>
          </p:cNvPr>
          <p:cNvSpPr/>
          <p:nvPr/>
        </p:nvSpPr>
        <p:spPr>
          <a:xfrm>
            <a:off x="4348712" y="780398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roceso)</a:t>
            </a:r>
          </a:p>
        </p:txBody>
      </p:sp>
      <p:sp>
        <p:nvSpPr>
          <p:cNvPr id="50" name="12 Cheurón">
            <a:extLst>
              <a:ext uri="{FF2B5EF4-FFF2-40B4-BE49-F238E27FC236}">
                <a16:creationId xmlns:a16="http://schemas.microsoft.com/office/drawing/2014/main" id="{42D04F8F-093C-4746-9839-1591CB7E2758}"/>
              </a:ext>
            </a:extLst>
          </p:cNvPr>
          <p:cNvSpPr/>
          <p:nvPr/>
        </p:nvSpPr>
        <p:spPr>
          <a:xfrm>
            <a:off x="6415397" y="780320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Subproceso)</a:t>
            </a:r>
          </a:p>
        </p:txBody>
      </p:sp>
      <p:sp>
        <p:nvSpPr>
          <p:cNvPr id="51" name="14 CuadroTexto">
            <a:extLst>
              <a:ext uri="{FF2B5EF4-FFF2-40B4-BE49-F238E27FC236}">
                <a16:creationId xmlns:a16="http://schemas.microsoft.com/office/drawing/2014/main" id="{64EF63F0-478F-46E8-9E07-3A3B1EFF9003}"/>
              </a:ext>
            </a:extLst>
          </p:cNvPr>
          <p:cNvSpPr txBox="1"/>
          <p:nvPr/>
        </p:nvSpPr>
        <p:spPr>
          <a:xfrm>
            <a:off x="362427" y="3090535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ño</a:t>
            </a:r>
          </a:p>
        </p:txBody>
      </p:sp>
      <p:sp>
        <p:nvSpPr>
          <p:cNvPr id="52" name="15 CuadroTexto">
            <a:extLst>
              <a:ext uri="{FF2B5EF4-FFF2-40B4-BE49-F238E27FC236}">
                <a16:creationId xmlns:a16="http://schemas.microsoft.com/office/drawing/2014/main" id="{873AEF9B-8C55-4B78-8D0F-A313E197D685}"/>
              </a:ext>
            </a:extLst>
          </p:cNvPr>
          <p:cNvSpPr txBox="1"/>
          <p:nvPr/>
        </p:nvSpPr>
        <p:spPr>
          <a:xfrm>
            <a:off x="362427" y="3830721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bierno y Control</a:t>
            </a:r>
          </a:p>
        </p:txBody>
      </p:sp>
      <p:sp>
        <p:nvSpPr>
          <p:cNvPr id="53" name="16 CuadroTexto">
            <a:extLst>
              <a:ext uri="{FF2B5EF4-FFF2-40B4-BE49-F238E27FC236}">
                <a16:creationId xmlns:a16="http://schemas.microsoft.com/office/drawing/2014/main" id="{A27A6107-78A3-4260-801B-88F51CAA0D7B}"/>
              </a:ext>
            </a:extLst>
          </p:cNvPr>
          <p:cNvSpPr txBox="1"/>
          <p:nvPr/>
        </p:nvSpPr>
        <p:spPr>
          <a:xfrm>
            <a:off x="360839" y="4946751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to Humano</a:t>
            </a:r>
          </a:p>
        </p:txBody>
      </p:sp>
      <p:cxnSp>
        <p:nvCxnSpPr>
          <p:cNvPr id="54" name="18 Conector recto">
            <a:extLst>
              <a:ext uri="{FF2B5EF4-FFF2-40B4-BE49-F238E27FC236}">
                <a16:creationId xmlns:a16="http://schemas.microsoft.com/office/drawing/2014/main" id="{2DA48FF2-B61C-4676-98BF-53816E8FBADB}"/>
              </a:ext>
            </a:extLst>
          </p:cNvPr>
          <p:cNvCxnSpPr>
            <a:cxnSpLocks/>
          </p:cNvCxnSpPr>
          <p:nvPr/>
        </p:nvCxnSpPr>
        <p:spPr>
          <a:xfrm>
            <a:off x="362427" y="3564645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19 Conector recto">
            <a:extLst>
              <a:ext uri="{FF2B5EF4-FFF2-40B4-BE49-F238E27FC236}">
                <a16:creationId xmlns:a16="http://schemas.microsoft.com/office/drawing/2014/main" id="{4C77E6DC-3585-4FC1-BEC6-048A35EFAE70}"/>
              </a:ext>
            </a:extLst>
          </p:cNvPr>
          <p:cNvCxnSpPr>
            <a:cxnSpLocks/>
          </p:cNvCxnSpPr>
          <p:nvPr/>
        </p:nvCxnSpPr>
        <p:spPr>
          <a:xfrm>
            <a:off x="362427" y="4714237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21 Conector recto">
            <a:extLst>
              <a:ext uri="{FF2B5EF4-FFF2-40B4-BE49-F238E27FC236}">
                <a16:creationId xmlns:a16="http://schemas.microsoft.com/office/drawing/2014/main" id="{2F429F4E-6C16-4D84-A6CB-F85C75A6067E}"/>
              </a:ext>
            </a:extLst>
          </p:cNvPr>
          <p:cNvCxnSpPr>
            <a:cxnSpLocks/>
          </p:cNvCxnSpPr>
          <p:nvPr/>
        </p:nvCxnSpPr>
        <p:spPr>
          <a:xfrm>
            <a:off x="3902915" y="3564647"/>
            <a:ext cx="0" cy="2808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22 Conector recto">
            <a:extLst>
              <a:ext uri="{FF2B5EF4-FFF2-40B4-BE49-F238E27FC236}">
                <a16:creationId xmlns:a16="http://schemas.microsoft.com/office/drawing/2014/main" id="{2EC31B02-586F-446F-94DA-81550A2507ED}"/>
              </a:ext>
            </a:extLst>
          </p:cNvPr>
          <p:cNvCxnSpPr>
            <a:cxnSpLocks/>
          </p:cNvCxnSpPr>
          <p:nvPr/>
        </p:nvCxnSpPr>
        <p:spPr>
          <a:xfrm>
            <a:off x="6162725" y="3002663"/>
            <a:ext cx="0" cy="3888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2 Marcador de contenido">
            <a:extLst>
              <a:ext uri="{FF2B5EF4-FFF2-40B4-BE49-F238E27FC236}">
                <a16:creationId xmlns:a16="http://schemas.microsoft.com/office/drawing/2014/main" id="{C03389A6-F5F9-4B22-B110-694CB01D1687}"/>
              </a:ext>
            </a:extLst>
          </p:cNvPr>
          <p:cNvSpPr txBox="1">
            <a:spLocks/>
          </p:cNvSpPr>
          <p:nvPr/>
        </p:nvSpPr>
        <p:spPr>
          <a:xfrm>
            <a:off x="2317048" y="2686811"/>
            <a:ext cx="2328666" cy="784458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Objetivo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cance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Normatividad y/o referentes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nual de Macroproceso</a:t>
            </a:r>
          </a:p>
        </p:txBody>
      </p:sp>
      <p:sp>
        <p:nvSpPr>
          <p:cNvPr id="59" name="2 Marcador de contenido">
            <a:extLst>
              <a:ext uri="{FF2B5EF4-FFF2-40B4-BE49-F238E27FC236}">
                <a16:creationId xmlns:a16="http://schemas.microsoft.com/office/drawing/2014/main" id="{8FB11EB3-2921-4554-A0E5-048EF9AE7B51}"/>
              </a:ext>
            </a:extLst>
          </p:cNvPr>
          <p:cNvSpPr txBox="1">
            <a:spLocks/>
          </p:cNvSpPr>
          <p:nvPr/>
        </p:nvSpPr>
        <p:spPr>
          <a:xfrm>
            <a:off x="3719998" y="3562689"/>
            <a:ext cx="2108148" cy="1105208"/>
          </a:xfrm>
          <a:prstGeom prst="rect">
            <a:avLst/>
          </a:prstGeom>
        </p:spPr>
        <p:txBody>
          <a:bodyPr lIns="70566" rIns="70566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iesgos y controle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KPI´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Instancias clave de toma de decisiones (Comités)</a:t>
            </a:r>
          </a:p>
        </p:txBody>
      </p:sp>
      <p:sp>
        <p:nvSpPr>
          <p:cNvPr id="91" name="2 Marcador de contenido">
            <a:extLst>
              <a:ext uri="{FF2B5EF4-FFF2-40B4-BE49-F238E27FC236}">
                <a16:creationId xmlns:a16="http://schemas.microsoft.com/office/drawing/2014/main" id="{041C35E3-7C7A-423A-BE0C-2FE9E8D4ADEB}"/>
              </a:ext>
            </a:extLst>
          </p:cNvPr>
          <p:cNvSpPr txBox="1">
            <a:spLocks/>
          </p:cNvSpPr>
          <p:nvPr/>
        </p:nvSpPr>
        <p:spPr>
          <a:xfrm>
            <a:off x="6057036" y="2684798"/>
            <a:ext cx="1975343" cy="680815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Diagrama de flujo (Bizagi)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nual sub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nterrelaciones claves</a:t>
            </a:r>
          </a:p>
        </p:txBody>
      </p:sp>
      <p:sp>
        <p:nvSpPr>
          <p:cNvPr id="92" name="16 CuadroTexto">
            <a:extLst>
              <a:ext uri="{FF2B5EF4-FFF2-40B4-BE49-F238E27FC236}">
                <a16:creationId xmlns:a16="http://schemas.microsoft.com/office/drawing/2014/main" id="{A2C1409D-8312-464B-9A9B-97F6D5A5915B}"/>
              </a:ext>
            </a:extLst>
          </p:cNvPr>
          <p:cNvSpPr txBox="1"/>
          <p:nvPr/>
        </p:nvSpPr>
        <p:spPr>
          <a:xfrm>
            <a:off x="346473" y="5860190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</a:t>
            </a:r>
          </a:p>
        </p:txBody>
      </p:sp>
      <p:sp>
        <p:nvSpPr>
          <p:cNvPr id="97" name="2 Marcador de contenido">
            <a:extLst>
              <a:ext uri="{FF2B5EF4-FFF2-40B4-BE49-F238E27FC236}">
                <a16:creationId xmlns:a16="http://schemas.microsoft.com/office/drawing/2014/main" id="{203C448F-A951-4268-AFB9-D29BE3603725}"/>
              </a:ext>
            </a:extLst>
          </p:cNvPr>
          <p:cNvSpPr txBox="1">
            <a:spLocks/>
          </p:cNvSpPr>
          <p:nvPr/>
        </p:nvSpPr>
        <p:spPr>
          <a:xfrm>
            <a:off x="1677270" y="4750891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nual de Roles y responsabilidades de VP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pa de Cargos</a:t>
            </a:r>
          </a:p>
        </p:txBody>
      </p:sp>
      <p:cxnSp>
        <p:nvCxnSpPr>
          <p:cNvPr id="98" name="18 Conector recto">
            <a:extLst>
              <a:ext uri="{FF2B5EF4-FFF2-40B4-BE49-F238E27FC236}">
                <a16:creationId xmlns:a16="http://schemas.microsoft.com/office/drawing/2014/main" id="{2381C50E-02BC-4F58-8D75-19140F9C9C66}"/>
              </a:ext>
            </a:extLst>
          </p:cNvPr>
          <p:cNvCxnSpPr>
            <a:cxnSpLocks/>
          </p:cNvCxnSpPr>
          <p:nvPr/>
        </p:nvCxnSpPr>
        <p:spPr>
          <a:xfrm>
            <a:off x="346473" y="5662968"/>
            <a:ext cx="11261013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2 Marcador de contenido">
            <a:extLst>
              <a:ext uri="{FF2B5EF4-FFF2-40B4-BE49-F238E27FC236}">
                <a16:creationId xmlns:a16="http://schemas.microsoft.com/office/drawing/2014/main" id="{4173B3D6-8300-44D3-A820-A6BF35CB1951}"/>
              </a:ext>
            </a:extLst>
          </p:cNvPr>
          <p:cNvSpPr txBox="1">
            <a:spLocks/>
          </p:cNvSpPr>
          <p:nvPr/>
        </p:nvSpPr>
        <p:spPr>
          <a:xfrm>
            <a:off x="6186316" y="5958971"/>
            <a:ext cx="2072783" cy="37425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Sistemas de información y herramientas utilizados</a:t>
            </a:r>
          </a:p>
        </p:txBody>
      </p:sp>
      <p:sp>
        <p:nvSpPr>
          <p:cNvPr id="100" name="14 CuadroTexto">
            <a:extLst>
              <a:ext uri="{FF2B5EF4-FFF2-40B4-BE49-F238E27FC236}">
                <a16:creationId xmlns:a16="http://schemas.microsoft.com/office/drawing/2014/main" id="{B006BFC4-89EF-4DE6-A011-1DA835B7D2F9}"/>
              </a:ext>
            </a:extLst>
          </p:cNvPr>
          <p:cNvSpPr txBox="1"/>
          <p:nvPr/>
        </p:nvSpPr>
        <p:spPr>
          <a:xfrm>
            <a:off x="251787" y="1084943"/>
            <a:ext cx="1482043" cy="331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568" b="1" i="0" u="none" strike="noStrike" kern="1200" cap="none" spc="0" normalizeH="0" baseline="0" noProof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ensión</a:t>
            </a:r>
          </a:p>
        </p:txBody>
      </p:sp>
      <p:sp>
        <p:nvSpPr>
          <p:cNvPr id="101" name="14 CuadroTexto">
            <a:extLst>
              <a:ext uri="{FF2B5EF4-FFF2-40B4-BE49-F238E27FC236}">
                <a16:creationId xmlns:a16="http://schemas.microsoft.com/office/drawing/2014/main" id="{805973EC-9B60-428B-8D15-0F53AE40DB4E}"/>
              </a:ext>
            </a:extLst>
          </p:cNvPr>
          <p:cNvSpPr txBox="1"/>
          <p:nvPr/>
        </p:nvSpPr>
        <p:spPr>
          <a:xfrm>
            <a:off x="959313" y="621294"/>
            <a:ext cx="1522939" cy="574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568" b="1" i="0" u="none" strike="noStrike" kern="1200" cap="none" spc="0" normalizeH="0" baseline="0" noProof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de Proceso</a:t>
            </a:r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5B36BA74-D718-4B84-8D5D-61AD5502EB66}"/>
              </a:ext>
            </a:extLst>
          </p:cNvPr>
          <p:cNvCxnSpPr>
            <a:cxnSpLocks/>
          </p:cNvCxnSpPr>
          <p:nvPr/>
        </p:nvCxnSpPr>
        <p:spPr>
          <a:xfrm>
            <a:off x="392064" y="812989"/>
            <a:ext cx="1399645" cy="53943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3" name="Conector recto 102">
            <a:extLst>
              <a:ext uri="{FF2B5EF4-FFF2-40B4-BE49-F238E27FC236}">
                <a16:creationId xmlns:a16="http://schemas.microsoft.com/office/drawing/2014/main" id="{E0237C54-5ED6-42B1-AE26-1F2CA52710C8}"/>
              </a:ext>
            </a:extLst>
          </p:cNvPr>
          <p:cNvCxnSpPr>
            <a:cxnSpLocks/>
          </p:cNvCxnSpPr>
          <p:nvPr/>
        </p:nvCxnSpPr>
        <p:spPr>
          <a:xfrm>
            <a:off x="1777388" y="1456257"/>
            <a:ext cx="0" cy="482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72602E84-B811-4783-A23E-4C69522530ED}"/>
              </a:ext>
            </a:extLst>
          </p:cNvPr>
          <p:cNvCxnSpPr>
            <a:cxnSpLocks/>
          </p:cNvCxnSpPr>
          <p:nvPr/>
        </p:nvCxnSpPr>
        <p:spPr>
          <a:xfrm>
            <a:off x="203400" y="1378637"/>
            <a:ext cx="159640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05" name="2 Marcador de contenido">
            <a:extLst>
              <a:ext uri="{FF2B5EF4-FFF2-40B4-BE49-F238E27FC236}">
                <a16:creationId xmlns:a16="http://schemas.microsoft.com/office/drawing/2014/main" id="{09CACBDF-8E06-460A-BE52-23AA77AC9025}"/>
              </a:ext>
            </a:extLst>
          </p:cNvPr>
          <p:cNvSpPr txBox="1">
            <a:spLocks/>
          </p:cNvSpPr>
          <p:nvPr/>
        </p:nvSpPr>
        <p:spPr>
          <a:xfrm>
            <a:off x="6127794" y="3551115"/>
            <a:ext cx="2257288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ACI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dentificación de decisiones críticas (modelo de gobierno) mapeadas en los subprocesos</a:t>
            </a:r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6" name="12 Cheurón">
            <a:extLst>
              <a:ext uri="{FF2B5EF4-FFF2-40B4-BE49-F238E27FC236}">
                <a16:creationId xmlns:a16="http://schemas.microsoft.com/office/drawing/2014/main" id="{9D6AE471-2961-44FB-BD6E-B423637AE0DC}"/>
              </a:ext>
            </a:extLst>
          </p:cNvPr>
          <p:cNvSpPr/>
          <p:nvPr/>
        </p:nvSpPr>
        <p:spPr>
          <a:xfrm>
            <a:off x="8227447" y="791382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Actividad)</a:t>
            </a:r>
          </a:p>
        </p:txBody>
      </p:sp>
      <p:sp>
        <p:nvSpPr>
          <p:cNvPr id="107" name="12 Cheurón">
            <a:extLst>
              <a:ext uri="{FF2B5EF4-FFF2-40B4-BE49-F238E27FC236}">
                <a16:creationId xmlns:a16="http://schemas.microsoft.com/office/drawing/2014/main" id="{CFC07269-C21A-4081-A320-A855BB007BE8}"/>
              </a:ext>
            </a:extLst>
          </p:cNvPr>
          <p:cNvSpPr/>
          <p:nvPr/>
        </p:nvSpPr>
        <p:spPr>
          <a:xfrm>
            <a:off x="9797232" y="791382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Tarea)</a:t>
            </a:r>
          </a:p>
        </p:txBody>
      </p:sp>
      <p:cxnSp>
        <p:nvCxnSpPr>
          <p:cNvPr id="108" name="22 Conector recto">
            <a:extLst>
              <a:ext uri="{FF2B5EF4-FFF2-40B4-BE49-F238E27FC236}">
                <a16:creationId xmlns:a16="http://schemas.microsoft.com/office/drawing/2014/main" id="{DDF7CB1D-D19E-4D80-B853-91A7676959AD}"/>
              </a:ext>
            </a:extLst>
          </p:cNvPr>
          <p:cNvCxnSpPr>
            <a:cxnSpLocks/>
          </p:cNvCxnSpPr>
          <p:nvPr/>
        </p:nvCxnSpPr>
        <p:spPr>
          <a:xfrm>
            <a:off x="8271096" y="2480376"/>
            <a:ext cx="0" cy="3182592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2 Marcador de contenido">
            <a:extLst>
              <a:ext uri="{FF2B5EF4-FFF2-40B4-BE49-F238E27FC236}">
                <a16:creationId xmlns:a16="http://schemas.microsoft.com/office/drawing/2014/main" id="{84A7833D-47CD-4C98-9A53-E13C1D6CFA70}"/>
              </a:ext>
            </a:extLst>
          </p:cNvPr>
          <p:cNvSpPr txBox="1">
            <a:spLocks/>
          </p:cNvSpPr>
          <p:nvPr/>
        </p:nvSpPr>
        <p:spPr>
          <a:xfrm>
            <a:off x="8167116" y="2774543"/>
            <a:ext cx="3110484" cy="728209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Identificación de Activos de conocimiento: Estándares, Procedimientos, Instructivos, formatos (Insumo para la Hoja de Ruta de activos de conocimiento)</a:t>
            </a:r>
          </a:p>
        </p:txBody>
      </p:sp>
      <p:sp>
        <p:nvSpPr>
          <p:cNvPr id="110" name="2 Marcador de contenido">
            <a:extLst>
              <a:ext uri="{FF2B5EF4-FFF2-40B4-BE49-F238E27FC236}">
                <a16:creationId xmlns:a16="http://schemas.microsoft.com/office/drawing/2014/main" id="{856AE0BC-9BA0-4461-894A-FA6A9E1C0F27}"/>
              </a:ext>
            </a:extLst>
          </p:cNvPr>
          <p:cNvSpPr txBox="1">
            <a:spLocks/>
          </p:cNvSpPr>
          <p:nvPr/>
        </p:nvSpPr>
        <p:spPr>
          <a:xfrm>
            <a:off x="6057036" y="4846451"/>
            <a:ext cx="1978283" cy="75218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ineación cargos Mapa de Cargos</a:t>
            </a:r>
          </a:p>
        </p:txBody>
      </p:sp>
      <p:cxnSp>
        <p:nvCxnSpPr>
          <p:cNvPr id="111" name="18 Conector recto">
            <a:extLst>
              <a:ext uri="{FF2B5EF4-FFF2-40B4-BE49-F238E27FC236}">
                <a16:creationId xmlns:a16="http://schemas.microsoft.com/office/drawing/2014/main" id="{04B3FA45-A2ED-4255-9D51-35B6821AC2A7}"/>
              </a:ext>
            </a:extLst>
          </p:cNvPr>
          <p:cNvCxnSpPr>
            <a:cxnSpLocks/>
          </p:cNvCxnSpPr>
          <p:nvPr/>
        </p:nvCxnSpPr>
        <p:spPr>
          <a:xfrm>
            <a:off x="362427" y="2636968"/>
            <a:ext cx="11186524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14 CuadroTexto">
            <a:extLst>
              <a:ext uri="{FF2B5EF4-FFF2-40B4-BE49-F238E27FC236}">
                <a16:creationId xmlns:a16="http://schemas.microsoft.com/office/drawing/2014/main" id="{2EF10060-250A-41CC-B2BB-0CB7F11425FA}"/>
              </a:ext>
            </a:extLst>
          </p:cNvPr>
          <p:cNvSpPr txBox="1"/>
          <p:nvPr/>
        </p:nvSpPr>
        <p:spPr>
          <a:xfrm>
            <a:off x="397625" y="1771488"/>
            <a:ext cx="14820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cripción</a:t>
            </a:r>
          </a:p>
        </p:txBody>
      </p:sp>
      <p:cxnSp>
        <p:nvCxnSpPr>
          <p:cNvPr id="113" name="21 Conector recto">
            <a:extLst>
              <a:ext uri="{FF2B5EF4-FFF2-40B4-BE49-F238E27FC236}">
                <a16:creationId xmlns:a16="http://schemas.microsoft.com/office/drawing/2014/main" id="{C9B6C461-FF61-4942-8246-0263EFD83D8B}"/>
              </a:ext>
            </a:extLst>
          </p:cNvPr>
          <p:cNvCxnSpPr>
            <a:cxnSpLocks/>
          </p:cNvCxnSpPr>
          <p:nvPr/>
        </p:nvCxnSpPr>
        <p:spPr>
          <a:xfrm>
            <a:off x="3903065" y="1378637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21 Conector recto">
            <a:extLst>
              <a:ext uri="{FF2B5EF4-FFF2-40B4-BE49-F238E27FC236}">
                <a16:creationId xmlns:a16="http://schemas.microsoft.com/office/drawing/2014/main" id="{934AEC2F-4BDF-4DAE-A0AB-6B3AFBC403B0}"/>
              </a:ext>
            </a:extLst>
          </p:cNvPr>
          <p:cNvCxnSpPr>
            <a:cxnSpLocks/>
          </p:cNvCxnSpPr>
          <p:nvPr/>
        </p:nvCxnSpPr>
        <p:spPr>
          <a:xfrm>
            <a:off x="6162558" y="1332255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21 Conector recto">
            <a:extLst>
              <a:ext uri="{FF2B5EF4-FFF2-40B4-BE49-F238E27FC236}">
                <a16:creationId xmlns:a16="http://schemas.microsoft.com/office/drawing/2014/main" id="{B2F9D849-23C5-491E-974F-D4E717C88678}"/>
              </a:ext>
            </a:extLst>
          </p:cNvPr>
          <p:cNvCxnSpPr>
            <a:cxnSpLocks/>
          </p:cNvCxnSpPr>
          <p:nvPr/>
        </p:nvCxnSpPr>
        <p:spPr>
          <a:xfrm>
            <a:off x="8269658" y="1372010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6" name="CuadroTexto 115">
            <a:extLst>
              <a:ext uri="{FF2B5EF4-FFF2-40B4-BE49-F238E27FC236}">
                <a16:creationId xmlns:a16="http://schemas.microsoft.com/office/drawing/2014/main" id="{65A0D094-CAE5-43B5-A9AF-FB1127558AF1}"/>
              </a:ext>
            </a:extLst>
          </p:cNvPr>
          <p:cNvSpPr txBox="1"/>
          <p:nvPr/>
        </p:nvSpPr>
        <p:spPr>
          <a:xfrm>
            <a:off x="1761292" y="1383906"/>
            <a:ext cx="2075794" cy="95756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el máximo nivel de agregación de procesos y su interrelación permite desarrollar la misión de la compañía.</a:t>
            </a:r>
          </a:p>
        </p:txBody>
      </p: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09F38C68-53E4-49B8-9C3A-6DCF2FF680E6}"/>
              </a:ext>
            </a:extLst>
          </p:cNvPr>
          <p:cNvSpPr txBox="1"/>
          <p:nvPr/>
        </p:nvSpPr>
        <p:spPr>
          <a:xfrm>
            <a:off x="4065093" y="1389037"/>
            <a:ext cx="2046183" cy="113453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undo nivel de agregación de la gestión organizacional, esta conformado por la agrupación lógica de varios subprocesos para alcanzar un objetivo</a:t>
            </a:r>
          </a:p>
        </p:txBody>
      </p:sp>
      <p:sp>
        <p:nvSpPr>
          <p:cNvPr id="118" name="CuadroTexto 117">
            <a:extLst>
              <a:ext uri="{FF2B5EF4-FFF2-40B4-BE49-F238E27FC236}">
                <a16:creationId xmlns:a16="http://schemas.microsoft.com/office/drawing/2014/main" id="{E0C28EA0-A184-4FC8-9D9F-873DE9149E3E}"/>
              </a:ext>
            </a:extLst>
          </p:cNvPr>
          <p:cNvSpPr txBox="1"/>
          <p:nvPr/>
        </p:nvSpPr>
        <p:spPr>
          <a:xfrm>
            <a:off x="6193990" y="1396512"/>
            <a:ext cx="1975343" cy="13115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un conjunto de actividades que se interrelacionan entre si a través de una secuencia lógica para cumplir un propósito y agregar valor al cliente</a:t>
            </a:r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BA1BBDC9-EB56-4E6F-9AF3-7C2EA49370D4}"/>
              </a:ext>
            </a:extLst>
          </p:cNvPr>
          <p:cNvSpPr txBox="1"/>
          <p:nvPr/>
        </p:nvSpPr>
        <p:spPr>
          <a:xfrm>
            <a:off x="8385082" y="1416752"/>
            <a:ext cx="3222404" cy="12576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endiendo la complejidad de gestión, una actividad, que a su vez hace parte de un subproceso y puede describirse en un documento aparte como por ejemplo un procedimiento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a el Nivel 4 su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allamiento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 descripción se puede recurrir a documentos como por ejemplo los instructivos</a:t>
            </a:r>
          </a:p>
        </p:txBody>
      </p:sp>
      <p:sp>
        <p:nvSpPr>
          <p:cNvPr id="120" name="2 Marcador de contenido">
            <a:extLst>
              <a:ext uri="{FF2B5EF4-FFF2-40B4-BE49-F238E27FC236}">
                <a16:creationId xmlns:a16="http://schemas.microsoft.com/office/drawing/2014/main" id="{7BEAFEB6-1151-4FB1-B1FB-AE5B6F09930A}"/>
              </a:ext>
            </a:extLst>
          </p:cNvPr>
          <p:cNvSpPr txBox="1">
            <a:spLocks/>
          </p:cNvSpPr>
          <p:nvPr/>
        </p:nvSpPr>
        <p:spPr>
          <a:xfrm>
            <a:off x="1902984" y="3662542"/>
            <a:ext cx="1647364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ol - Líder de Macro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D y Modelo de relacionamiento</a:t>
            </a:r>
          </a:p>
        </p:txBody>
      </p:sp>
      <p:sp>
        <p:nvSpPr>
          <p:cNvPr id="60" name="2 Marcador de contenido">
            <a:extLst>
              <a:ext uri="{FF2B5EF4-FFF2-40B4-BE49-F238E27FC236}">
                <a16:creationId xmlns:a16="http://schemas.microsoft.com/office/drawing/2014/main" id="{2553038F-F472-4936-9152-0C6001D6F36B}"/>
              </a:ext>
            </a:extLst>
          </p:cNvPr>
          <p:cNvSpPr txBox="1">
            <a:spLocks/>
          </p:cNvSpPr>
          <p:nvPr/>
        </p:nvSpPr>
        <p:spPr>
          <a:xfrm>
            <a:off x="3911273" y="4768004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nual de Roles y responsabilidades Gerencias / Jefaturas</a:t>
            </a:r>
          </a:p>
        </p:txBody>
      </p:sp>
      <p:cxnSp>
        <p:nvCxnSpPr>
          <p:cNvPr id="61" name="22 Conector recto">
            <a:extLst>
              <a:ext uri="{FF2B5EF4-FFF2-40B4-BE49-F238E27FC236}">
                <a16:creationId xmlns:a16="http://schemas.microsoft.com/office/drawing/2014/main" id="{7514CC13-059B-40AB-B890-CEA9CAAE97E0}"/>
              </a:ext>
            </a:extLst>
          </p:cNvPr>
          <p:cNvCxnSpPr>
            <a:cxnSpLocks/>
          </p:cNvCxnSpPr>
          <p:nvPr/>
        </p:nvCxnSpPr>
        <p:spPr>
          <a:xfrm>
            <a:off x="9856615" y="3562689"/>
            <a:ext cx="0" cy="2798009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2 Marcador de contenido">
            <a:extLst>
              <a:ext uri="{FF2B5EF4-FFF2-40B4-BE49-F238E27FC236}">
                <a16:creationId xmlns:a16="http://schemas.microsoft.com/office/drawing/2014/main" id="{7C945924-4333-4F1B-A0AC-849277F5F0CA}"/>
              </a:ext>
            </a:extLst>
          </p:cNvPr>
          <p:cNvSpPr txBox="1">
            <a:spLocks/>
          </p:cNvSpPr>
          <p:nvPr/>
        </p:nvSpPr>
        <p:spPr>
          <a:xfrm>
            <a:off x="3909841" y="5845319"/>
            <a:ext cx="2072783" cy="377781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Hoja de Ruta de Activos de conocimiento</a:t>
            </a:r>
          </a:p>
        </p:txBody>
      </p:sp>
      <p:cxnSp>
        <p:nvCxnSpPr>
          <p:cNvPr id="63" name="18 Conector recto">
            <a:extLst>
              <a:ext uri="{FF2B5EF4-FFF2-40B4-BE49-F238E27FC236}">
                <a16:creationId xmlns:a16="http://schemas.microsoft.com/office/drawing/2014/main" id="{26BC84EC-D07B-49EF-9E00-B4237C0D138F}"/>
              </a:ext>
            </a:extLst>
          </p:cNvPr>
          <p:cNvCxnSpPr>
            <a:cxnSpLocks/>
          </p:cNvCxnSpPr>
          <p:nvPr/>
        </p:nvCxnSpPr>
        <p:spPr>
          <a:xfrm>
            <a:off x="6193990" y="5964754"/>
            <a:ext cx="2075668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2 Marcador de contenido">
            <a:extLst>
              <a:ext uri="{FF2B5EF4-FFF2-40B4-BE49-F238E27FC236}">
                <a16:creationId xmlns:a16="http://schemas.microsoft.com/office/drawing/2014/main" id="{51EF21D9-C989-4930-BEA0-7EEA997A5C79}"/>
              </a:ext>
            </a:extLst>
          </p:cNvPr>
          <p:cNvSpPr txBox="1">
            <a:spLocks/>
          </p:cNvSpPr>
          <p:nvPr/>
        </p:nvSpPr>
        <p:spPr>
          <a:xfrm>
            <a:off x="7069353" y="5701350"/>
            <a:ext cx="2072783" cy="26272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ITE</a:t>
            </a:r>
          </a:p>
        </p:txBody>
      </p:sp>
      <p:cxnSp>
        <p:nvCxnSpPr>
          <p:cNvPr id="65" name="22 Conector recto">
            <a:extLst>
              <a:ext uri="{FF2B5EF4-FFF2-40B4-BE49-F238E27FC236}">
                <a16:creationId xmlns:a16="http://schemas.microsoft.com/office/drawing/2014/main" id="{79BC3C1B-B9AB-44E9-9630-C9929152ECD4}"/>
              </a:ext>
            </a:extLst>
          </p:cNvPr>
          <p:cNvCxnSpPr>
            <a:cxnSpLocks/>
          </p:cNvCxnSpPr>
          <p:nvPr/>
        </p:nvCxnSpPr>
        <p:spPr>
          <a:xfrm>
            <a:off x="8252861" y="6504001"/>
            <a:ext cx="0" cy="390362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8791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abla 7">
            <a:extLst>
              <a:ext uri="{FF2B5EF4-FFF2-40B4-BE49-F238E27FC236}">
                <a16:creationId xmlns:a16="http://schemas.microsoft.com/office/drawing/2014/main" id="{198A854B-E9E0-430C-8628-7109A158710B}"/>
              </a:ext>
            </a:extLst>
          </p:cNvPr>
          <p:cNvGraphicFramePr>
            <a:graphicFrameLocks noGrp="1"/>
          </p:cNvGraphicFramePr>
          <p:nvPr/>
        </p:nvGraphicFramePr>
        <p:xfrm>
          <a:off x="372533" y="4773305"/>
          <a:ext cx="11379199" cy="2061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4522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4010586">
                  <a:extLst>
                    <a:ext uri="{9D8B030D-6E8A-4147-A177-3AD203B41FA5}">
                      <a16:colId xmlns:a16="http://schemas.microsoft.com/office/drawing/2014/main" val="2878989819"/>
                    </a:ext>
                  </a:extLst>
                </a:gridCol>
                <a:gridCol w="3384204">
                  <a:extLst>
                    <a:ext uri="{9D8B030D-6E8A-4147-A177-3AD203B41FA5}">
                      <a16:colId xmlns:a16="http://schemas.microsoft.com/office/drawing/2014/main" val="1773243274"/>
                    </a:ext>
                  </a:extLst>
                </a:gridCol>
                <a:gridCol w="2869887">
                  <a:extLst>
                    <a:ext uri="{9D8B030D-6E8A-4147-A177-3AD203B41FA5}">
                      <a16:colId xmlns:a16="http://schemas.microsoft.com/office/drawing/2014/main" val="1009878518"/>
                    </a:ext>
                  </a:extLst>
                </a:gridCol>
              </a:tblGrid>
              <a:tr h="482177">
                <a:tc rowSpan="5">
                  <a:txBody>
                    <a:bodyPr/>
                    <a:lstStyle/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Nivel 2</a:t>
                      </a:r>
                    </a:p>
                  </a:txBody>
                  <a:tcPr marL="74579" marR="74579" marT="37290" marB="3729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tructuración estrategia de abastecimiento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CO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eación de necesidades de bienes y servicios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CO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jecución y monitoreo de las necesidades de bienes y servicios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CO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ificación de bienes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tructuración del mecanismo de elección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jecución del mecanismo de elección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ignación de mecanismo de elección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guimiento a órdenes de compra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dirty="0">
                          <a:solidFill>
                            <a:schemeClr val="tx1"/>
                          </a:solidFill>
                        </a:rPr>
                        <a:t>Inicio y planeación de la ejecución de contratos.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dirty="0">
                          <a:solidFill>
                            <a:schemeClr val="tx1"/>
                          </a:solidFill>
                        </a:rPr>
                        <a:t>Ejecución y control del contrato.</a:t>
                      </a:r>
                    </a:p>
                    <a:p>
                      <a:pPr marL="228600" marR="0" lvl="0" indent="-22860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ierre de contrato.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  <a:tr h="37607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s-CO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O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dirty="0">
                          <a:solidFill>
                            <a:schemeClr val="tx1"/>
                          </a:solidFill>
                        </a:rPr>
                        <a:t>Gestión de almacenes</a:t>
                      </a:r>
                    </a:p>
                    <a:p>
                      <a:pPr marL="228600" marR="0" lvl="0" indent="-22860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dirty="0">
                          <a:solidFill>
                            <a:schemeClr val="tx1"/>
                          </a:solidFill>
                        </a:rPr>
                        <a:t>Gestión de logística inversa</a:t>
                      </a:r>
                    </a:p>
                    <a:p>
                      <a:pPr marL="228600" marR="0" lvl="0" indent="-22860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dirty="0">
                          <a:solidFill>
                            <a:schemeClr val="tx1"/>
                          </a:solidFill>
                        </a:rPr>
                        <a:t>Gestión de logística de distribución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511807"/>
                  </a:ext>
                </a:extLst>
              </a:tr>
              <a:tr h="275574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228600" marR="0" lvl="0" indent="-22860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dirty="0">
                          <a:solidFill>
                            <a:schemeClr val="tx1"/>
                          </a:solidFill>
                        </a:rPr>
                        <a:t>Habilitación de oferentes y/o aliados</a:t>
                      </a:r>
                    </a:p>
                    <a:p>
                      <a:pPr marL="228600" marR="0" lvl="0" indent="-22860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arrollo </a:t>
                      </a:r>
                      <a:r>
                        <a:rPr lang="es-ES" sz="800" dirty="0">
                          <a:solidFill>
                            <a:schemeClr val="tx1"/>
                          </a:solidFill>
                        </a:rPr>
                        <a:t>de oferentes, proveedores y contratistas</a:t>
                      </a:r>
                      <a:endParaRPr lang="es-CO" sz="800" dirty="0">
                        <a:solidFill>
                          <a:schemeClr val="tx1"/>
                        </a:solidFill>
                      </a:endParaRP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O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316813"/>
                  </a:ext>
                </a:extLst>
              </a:tr>
              <a:tr h="275574">
                <a:tc vMerge="1">
                  <a:txBody>
                    <a:bodyPr/>
                    <a:lstStyle/>
                    <a:p>
                      <a:endParaRPr lang="es-CO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28600" marR="0" lvl="0" indent="-22860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dirty="0">
                          <a:solidFill>
                            <a:schemeClr val="tx1"/>
                          </a:solidFill>
                        </a:rPr>
                        <a:t>Planeación y aseguramiento de la prestación de servicios administrativos</a:t>
                      </a:r>
                    </a:p>
                    <a:p>
                      <a:pPr marL="228600" marR="0" lvl="0" indent="-22860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s-ES" sz="800" dirty="0">
                          <a:solidFill>
                            <a:schemeClr val="tx1"/>
                          </a:solidFill>
                        </a:rPr>
                        <a:t>Monitoreo de la prestación de servicios administrativos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2168404"/>
                  </a:ext>
                </a:extLst>
              </a:tr>
              <a:tr h="421602">
                <a:tc vMerge="1">
                  <a:txBody>
                    <a:bodyPr/>
                    <a:lstStyle/>
                    <a:p>
                      <a:endParaRPr lang="es-CO" sz="8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8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3967845"/>
                  </a:ext>
                </a:extLst>
              </a:tr>
            </a:tbl>
          </a:graphicData>
        </a:graphic>
      </p:graphicFrame>
      <p:graphicFrame>
        <p:nvGraphicFramePr>
          <p:cNvPr id="18" name="Tabla 7">
            <a:extLst>
              <a:ext uri="{FF2B5EF4-FFF2-40B4-BE49-F238E27FC236}">
                <a16:creationId xmlns:a16="http://schemas.microsoft.com/office/drawing/2014/main" id="{48C73CE4-757D-4399-A4D5-7760D5623811}"/>
              </a:ext>
            </a:extLst>
          </p:cNvPr>
          <p:cNvGraphicFramePr>
            <a:graphicFrameLocks noGrp="1"/>
          </p:cNvGraphicFramePr>
          <p:nvPr/>
        </p:nvGraphicFramePr>
        <p:xfrm>
          <a:off x="372534" y="2407015"/>
          <a:ext cx="11379197" cy="2349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5284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4019823">
                  <a:extLst>
                    <a:ext uri="{9D8B030D-6E8A-4147-A177-3AD203B41FA5}">
                      <a16:colId xmlns:a16="http://schemas.microsoft.com/office/drawing/2014/main" val="2878989819"/>
                    </a:ext>
                  </a:extLst>
                </a:gridCol>
                <a:gridCol w="3384204">
                  <a:extLst>
                    <a:ext uri="{9D8B030D-6E8A-4147-A177-3AD203B41FA5}">
                      <a16:colId xmlns:a16="http://schemas.microsoft.com/office/drawing/2014/main" val="1773243274"/>
                    </a:ext>
                  </a:extLst>
                </a:gridCol>
                <a:gridCol w="2869886">
                  <a:extLst>
                    <a:ext uri="{9D8B030D-6E8A-4147-A177-3AD203B41FA5}">
                      <a16:colId xmlns:a16="http://schemas.microsoft.com/office/drawing/2014/main" val="1009878518"/>
                    </a:ext>
                  </a:extLst>
                </a:gridCol>
              </a:tblGrid>
              <a:tr h="714425">
                <a:tc rowSpan="5">
                  <a:txBody>
                    <a:bodyPr/>
                    <a:lstStyle/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Objetivos procesos </a:t>
                      </a:r>
                    </a:p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74579" marR="74579" marT="37290" marB="3729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800" b="0" dirty="0">
                          <a:solidFill>
                            <a:schemeClr val="tx1"/>
                          </a:solidFill>
                        </a:rPr>
                        <a:t>Estructurar las estrategias de abastecimiento analizando el gasto, definiendo las categorías y planeando las necesidades de bienes y servicios, estableciendo los niveles óptimos de inventario y la entrega de materiales, de acuerdo con la estrategia empresarial, el presupuesto y el plan de negocios, con el propósito de asegurar la oportunidad en la satisfacción de las necesidades de la Organización.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egurar la disponibilidad oportuna de vehículos contractuales de bienes y servicios que satisfagan las necesidades de la Organización y estén alineados con las estrategias de abastecimiento definidas para cada mecanismo de elección.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solidFill>
                            <a:schemeClr val="tx1"/>
                          </a:solidFill>
                        </a:rPr>
                        <a:t>Gestionar las actividades necesarias para realizar el seguimiento al inicio, ejecución y cierre de los contratos en los aspectos técnicos, administrativos, financieros y contables.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  <a:tr h="523461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s-CO" sz="600" b="0" dirty="0">
                        <a:solidFill>
                          <a:schemeClr val="tx1"/>
                        </a:solidFill>
                      </a:endParaRP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O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dirty="0">
                          <a:solidFill>
                            <a:schemeClr val="tx1"/>
                          </a:solidFill>
                        </a:rPr>
                        <a:t>Gestionar el flujo de materiales y equipos no instalados así como su disposición final, de acuerdo con las necesidades de la Organización, para asegurar calidad, precisión, registro, preservación y oportunidad.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511807"/>
                  </a:ext>
                </a:extLst>
              </a:tr>
              <a:tr h="39269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/>
                      <a:r>
                        <a:rPr lang="es-CO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lorar la oferta de bienes y servicios del mercado </a:t>
                      </a:r>
                      <a:r>
                        <a:rPr lang="es-CO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r>
                        <a:rPr lang="es-CO" sz="8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CO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inearlas con las necesidades de la Organización, así como identificar las opciones de cooperación, colaboración o asociación en materia de convenios y acuerdos, para lograr un relacionamiento efectivo con los oferentes, proveedores y contratistas existentes, desarrollando sus capacidades en caso de requerirse, con el fin de que sean idóneos según los estándares definidos. 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O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O" sz="7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316813"/>
                  </a:ext>
                </a:extLst>
              </a:tr>
              <a:tr h="332496">
                <a:tc vMerge="1">
                  <a:txBody>
                    <a:bodyPr/>
                    <a:lstStyle/>
                    <a:p>
                      <a:endParaRPr lang="es-CO" sz="1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419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tar de manera óptima los servicios administrativos atendiendo las </a:t>
                      </a:r>
                      <a:r>
                        <a:rPr lang="es-419" sz="800" b="0" dirty="0">
                          <a:solidFill>
                            <a:schemeClr val="tx1"/>
                          </a:solidFill>
                        </a:rPr>
                        <a:t>necesidades de la Compañía tanto a nivel regional como centralizado, </a:t>
                      </a:r>
                      <a:r>
                        <a:rPr lang="es-ES" sz="800" b="0" dirty="0">
                          <a:solidFill>
                            <a:schemeClr val="tx1"/>
                          </a:solidFill>
                        </a:rPr>
                        <a:t>facilitando y mejorando los ambientes de trabajo para el desarrollo de las actividades diarias, requeridas por la operación, para mejorar el bienestar de los trabajadores.</a:t>
                      </a:r>
                      <a:endParaRPr lang="es-CO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4832454"/>
                  </a:ext>
                </a:extLst>
              </a:tr>
              <a:tr h="347309">
                <a:tc vMerge="1">
                  <a:txBody>
                    <a:bodyPr/>
                    <a:lstStyle/>
                    <a:p>
                      <a:endParaRPr lang="es-CO" sz="7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altLang="ko-KR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tructurar las estrategias para su conformación y asegurar los vehículos jurídicos, que satisfagan las necesidades corporativas de convenios y acuerdos, así como gestionar </a:t>
                      </a:r>
                      <a:r>
                        <a:rPr lang="es-CO" sz="800" b="0" dirty="0">
                          <a:solidFill>
                            <a:schemeClr val="tx1"/>
                          </a:solidFill>
                        </a:rPr>
                        <a:t>las actividades necesarias para realizar su seguimiento al inicio, ejecución y cierre en los aspectos técnicos, administrativos, financieros y contables.</a:t>
                      </a:r>
                      <a:endParaRPr lang="es-CO" sz="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8677851"/>
                  </a:ext>
                </a:extLst>
              </a:tr>
            </a:tbl>
          </a:graphicData>
        </a:graphic>
      </p:graphicFrame>
      <p:graphicFrame>
        <p:nvGraphicFramePr>
          <p:cNvPr id="3" name="Tabla 7">
            <a:extLst>
              <a:ext uri="{FF2B5EF4-FFF2-40B4-BE49-F238E27FC236}">
                <a16:creationId xmlns:a16="http://schemas.microsoft.com/office/drawing/2014/main" id="{9DE92A78-CDF6-4B4C-8683-77BFCA95977E}"/>
              </a:ext>
            </a:extLst>
          </p:cNvPr>
          <p:cNvGraphicFramePr>
            <a:graphicFrameLocks noGrp="1"/>
          </p:cNvGraphicFramePr>
          <p:nvPr/>
        </p:nvGraphicFramePr>
        <p:xfrm>
          <a:off x="372533" y="1220761"/>
          <a:ext cx="11379197" cy="1160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6049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283148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1160790">
                <a:tc>
                  <a:txBody>
                    <a:bodyPr/>
                    <a:lstStyle/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74579" marR="74579" marT="37290" marB="3729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4" name="Tabla 7">
            <a:extLst>
              <a:ext uri="{FF2B5EF4-FFF2-40B4-BE49-F238E27FC236}">
                <a16:creationId xmlns:a16="http://schemas.microsoft.com/office/drawing/2014/main" id="{5D0ED999-B1E1-4ABF-ADD1-3A6F03927D66}"/>
              </a:ext>
            </a:extLst>
          </p:cNvPr>
          <p:cNvGraphicFramePr>
            <a:graphicFrameLocks noGrp="1"/>
          </p:cNvGraphicFramePr>
          <p:nvPr/>
        </p:nvGraphicFramePr>
        <p:xfrm>
          <a:off x="5529724" y="446249"/>
          <a:ext cx="6222006" cy="722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2155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5339851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577066">
                <a:tc>
                  <a:txBody>
                    <a:bodyPr/>
                    <a:lstStyle/>
                    <a:p>
                      <a:r>
                        <a:rPr lang="es-CO" sz="1200" dirty="0">
                          <a:solidFill>
                            <a:sysClr val="windowText" lastClr="000000"/>
                          </a:solidFill>
                        </a:rPr>
                        <a:t>Objetivo</a:t>
                      </a:r>
                    </a:p>
                    <a:p>
                      <a:r>
                        <a:rPr lang="es-CO" sz="1200" dirty="0">
                          <a:solidFill>
                            <a:sysClr val="windowText" lastClr="000000"/>
                          </a:solidFill>
                        </a:rPr>
                        <a:t>Nivel 0</a:t>
                      </a:r>
                    </a:p>
                  </a:txBody>
                  <a:tcPr marL="74579" marR="74579" marT="37290" marB="3729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ectar las necesidades de abastecimiento y servicios administrativos de la organización con las posibilidades que ofrecen los mercados de bienes y servicios, para asegurar que se suministren de manera oportuna, eficiente y con calidad, así como las necesidades de convenios y acuerdos, con las opciones de colaboración, cooperación o asociación, con el fin de </a:t>
                      </a:r>
                      <a:r>
                        <a:rPr lang="es-ES" altLang="ko-KR" sz="8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canzar objetivos institucionales comunes, maximizando los aportes de las partes</a:t>
                      </a:r>
                      <a:r>
                        <a:rPr lang="es-CO" sz="8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74579" marR="74579" marT="37290" marB="3729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5" name="Tabla 7">
            <a:extLst>
              <a:ext uri="{FF2B5EF4-FFF2-40B4-BE49-F238E27FC236}">
                <a16:creationId xmlns:a16="http://schemas.microsoft.com/office/drawing/2014/main" id="{F171D9D8-EB96-403B-941A-B998572285FD}"/>
              </a:ext>
            </a:extLst>
          </p:cNvPr>
          <p:cNvGraphicFramePr>
            <a:graphicFrameLocks noGrp="1"/>
          </p:cNvGraphicFramePr>
          <p:nvPr/>
        </p:nvGraphicFramePr>
        <p:xfrm>
          <a:off x="372533" y="444125"/>
          <a:ext cx="5108337" cy="722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5285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4003052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722280">
                <a:tc>
                  <a:txBody>
                    <a:bodyPr/>
                    <a:lstStyle/>
                    <a:p>
                      <a:r>
                        <a:rPr lang="es-CO" sz="1300" dirty="0">
                          <a:solidFill>
                            <a:schemeClr val="tx1"/>
                          </a:solidFill>
                        </a:rPr>
                        <a:t>Proceso Nivel 0</a:t>
                      </a:r>
                    </a:p>
                  </a:txBody>
                  <a:tcPr marL="74579" marR="74579" marT="37290" marB="3729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1" dirty="0">
                          <a:solidFill>
                            <a:schemeClr val="tx1"/>
                          </a:solidFill>
                        </a:rPr>
                        <a:t>Abastecimiento y Servicios Administrativos</a:t>
                      </a:r>
                    </a:p>
                  </a:txBody>
                  <a:tcPr marL="74579" marR="74579" marT="37290" marB="3729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sp>
        <p:nvSpPr>
          <p:cNvPr id="10" name="Freeform 153">
            <a:extLst>
              <a:ext uri="{FF2B5EF4-FFF2-40B4-BE49-F238E27FC236}">
                <a16:creationId xmlns:a16="http://schemas.microsoft.com/office/drawing/2014/main" id="{8BFD06E7-A8A1-4CBB-8DE5-61131E3346DA}"/>
              </a:ext>
            </a:extLst>
          </p:cNvPr>
          <p:cNvSpPr/>
          <p:nvPr/>
        </p:nvSpPr>
        <p:spPr bwMode="auto">
          <a:xfrm>
            <a:off x="5235729" y="1262238"/>
            <a:ext cx="2623310" cy="252737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74579" tIns="37290" rIns="74579" bIns="37290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57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Calibri" panose="020F0502020204030204" pitchFamily="34" charset="0"/>
                <a:sym typeface="+mn-lt"/>
              </a:rPr>
              <a:t>Aprovisionamiento de </a:t>
            </a:r>
          </a:p>
          <a:p>
            <a:pPr marL="0" marR="0" lvl="0" indent="0" algn="ctr" defTabSz="7457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Calibri" panose="020F0502020204030204" pitchFamily="34" charset="0"/>
                <a:sym typeface="+mn-lt"/>
              </a:rPr>
              <a:t>Bienes y Servicios</a:t>
            </a:r>
            <a:endParaRPr kumimoji="0" lang="es-CO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FF00"/>
              </a:highlight>
              <a:uLnTx/>
              <a:uFillTx/>
              <a:latin typeface="Arial"/>
              <a:ea typeface="Verdana" panose="020B0604030504040204" pitchFamily="34" charset="0"/>
              <a:cs typeface="Calibri" panose="020F0502020204030204" pitchFamily="34" charset="0"/>
              <a:sym typeface="+mn-lt"/>
            </a:endParaRPr>
          </a:p>
        </p:txBody>
      </p:sp>
      <p:grpSp>
        <p:nvGrpSpPr>
          <p:cNvPr id="15" name="Group 152">
            <a:extLst>
              <a:ext uri="{FF2B5EF4-FFF2-40B4-BE49-F238E27FC236}">
                <a16:creationId xmlns:a16="http://schemas.microsoft.com/office/drawing/2014/main" id="{D3E73C8E-EA84-4EA4-A9EB-1752BE07ADDD}"/>
              </a:ext>
            </a:extLst>
          </p:cNvPr>
          <p:cNvGrpSpPr/>
          <p:nvPr/>
        </p:nvGrpSpPr>
        <p:grpSpPr>
          <a:xfrm>
            <a:off x="7859907" y="1497528"/>
            <a:ext cx="2623310" cy="233354"/>
            <a:chOff x="9392651" y="11200"/>
            <a:chExt cx="1551465" cy="1127639"/>
          </a:xfrm>
          <a:solidFill>
            <a:schemeClr val="tx2"/>
          </a:solidFill>
        </p:grpSpPr>
        <p:sp>
          <p:nvSpPr>
            <p:cNvPr id="16" name="Freeform 153">
              <a:extLst>
                <a:ext uri="{FF2B5EF4-FFF2-40B4-BE49-F238E27FC236}">
                  <a16:creationId xmlns:a16="http://schemas.microsoft.com/office/drawing/2014/main" id="{143BF705-2D0D-4114-B268-F16B3838BAA2}"/>
                </a:ext>
              </a:extLst>
            </p:cNvPr>
            <p:cNvSpPr/>
            <p:nvPr/>
          </p:nvSpPr>
          <p:spPr bwMode="auto">
            <a:xfrm>
              <a:off x="9392651" y="11200"/>
              <a:ext cx="1551465" cy="112763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74579" tIns="37290" rIns="74579" bIns="37290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457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TextBox 4">
              <a:extLst>
                <a:ext uri="{FF2B5EF4-FFF2-40B4-BE49-F238E27FC236}">
                  <a16:creationId xmlns:a16="http://schemas.microsoft.com/office/drawing/2014/main" id="{24563327-414F-49E2-8B2A-92465E058B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560566" y="229190"/>
              <a:ext cx="1277801" cy="66927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699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1" i="0" u="none" strike="noStrike" kern="1200" cap="none" spc="-1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>
                    <a:solidFill>
                      <a:srgbClr val="FFFFFF"/>
                    </a:solidFill>
                  </a:uFill>
                  <a:latin typeface="Arial"/>
                  <a:ea typeface="+mn-ea"/>
                  <a:cs typeface="+mn-cs"/>
                </a:rPr>
                <a:t>Gestión  Logística de Bienes</a:t>
              </a:r>
            </a:p>
          </p:txBody>
        </p:sp>
      </p:grpSp>
      <p:grpSp>
        <p:nvGrpSpPr>
          <p:cNvPr id="24" name="Group 152">
            <a:extLst>
              <a:ext uri="{FF2B5EF4-FFF2-40B4-BE49-F238E27FC236}">
                <a16:creationId xmlns:a16="http://schemas.microsoft.com/office/drawing/2014/main" id="{528C7E4B-9DA7-4EC8-A9CF-3E9C6DACDF89}"/>
              </a:ext>
            </a:extLst>
          </p:cNvPr>
          <p:cNvGrpSpPr/>
          <p:nvPr/>
        </p:nvGrpSpPr>
        <p:grpSpPr>
          <a:xfrm>
            <a:off x="2871395" y="1740771"/>
            <a:ext cx="7494320" cy="213014"/>
            <a:chOff x="9306791" y="305831"/>
            <a:chExt cx="1734551" cy="634525"/>
          </a:xfrm>
          <a:solidFill>
            <a:schemeClr val="tx2"/>
          </a:solidFill>
        </p:grpSpPr>
        <p:sp>
          <p:nvSpPr>
            <p:cNvPr id="25" name="Freeform 153">
              <a:extLst>
                <a:ext uri="{FF2B5EF4-FFF2-40B4-BE49-F238E27FC236}">
                  <a16:creationId xmlns:a16="http://schemas.microsoft.com/office/drawing/2014/main" id="{5A6B6B8D-FB2B-4308-9702-9E8A3BCB1560}"/>
                </a:ext>
              </a:extLst>
            </p:cNvPr>
            <p:cNvSpPr/>
            <p:nvPr/>
          </p:nvSpPr>
          <p:spPr bwMode="auto">
            <a:xfrm>
              <a:off x="9306791" y="305831"/>
              <a:ext cx="1734551" cy="63452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74579" tIns="37290" rIns="74579" bIns="37290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457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6" name="TextBox 4">
              <a:extLst>
                <a:ext uri="{FF2B5EF4-FFF2-40B4-BE49-F238E27FC236}">
                  <a16:creationId xmlns:a16="http://schemas.microsoft.com/office/drawing/2014/main" id="{1B2F5637-F029-462C-A05D-79C9FD39BB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560566" y="418328"/>
              <a:ext cx="1277801" cy="41256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699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1" i="0" u="none" strike="noStrike" kern="1200" cap="none" spc="-1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>
                    <a:solidFill>
                      <a:srgbClr val="FFFFFF"/>
                    </a:solidFill>
                  </a:uFill>
                  <a:latin typeface="Arial"/>
                  <a:ea typeface="Arial"/>
                  <a:cs typeface="+mn-cs"/>
                </a:rPr>
                <a:t>Relacionamiento con Oferentes, Proveedores y Contratistas</a:t>
              </a:r>
              <a:endPara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FF00"/>
                </a:highligh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Freeform 153">
            <a:extLst>
              <a:ext uri="{FF2B5EF4-FFF2-40B4-BE49-F238E27FC236}">
                <a16:creationId xmlns:a16="http://schemas.microsoft.com/office/drawing/2014/main" id="{6848ADD2-6D6F-4119-B467-AC833D2B7C02}"/>
              </a:ext>
            </a:extLst>
          </p:cNvPr>
          <p:cNvSpPr/>
          <p:nvPr/>
        </p:nvSpPr>
        <p:spPr bwMode="auto">
          <a:xfrm>
            <a:off x="2884712" y="1263219"/>
            <a:ext cx="2596159" cy="24584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74579" tIns="37290" rIns="74579" bIns="37290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57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Calibri" panose="020F0502020204030204" pitchFamily="34" charset="0"/>
                <a:sym typeface="+mn-lt"/>
              </a:rPr>
              <a:t>Planeación de Bienes y Servicios</a:t>
            </a:r>
          </a:p>
        </p:txBody>
      </p:sp>
      <p:grpSp>
        <p:nvGrpSpPr>
          <p:cNvPr id="23" name="Group 152">
            <a:extLst>
              <a:ext uri="{FF2B5EF4-FFF2-40B4-BE49-F238E27FC236}">
                <a16:creationId xmlns:a16="http://schemas.microsoft.com/office/drawing/2014/main" id="{83CC7D72-35A5-43E9-A420-58585E57538B}"/>
              </a:ext>
            </a:extLst>
          </p:cNvPr>
          <p:cNvGrpSpPr/>
          <p:nvPr/>
        </p:nvGrpSpPr>
        <p:grpSpPr>
          <a:xfrm>
            <a:off x="2894441" y="1955902"/>
            <a:ext cx="7494320" cy="204549"/>
            <a:chOff x="9306791" y="305831"/>
            <a:chExt cx="1734551" cy="760866"/>
          </a:xfrm>
          <a:solidFill>
            <a:schemeClr val="tx2"/>
          </a:solidFill>
        </p:grpSpPr>
        <p:sp>
          <p:nvSpPr>
            <p:cNvPr id="27" name="Freeform 153">
              <a:extLst>
                <a:ext uri="{FF2B5EF4-FFF2-40B4-BE49-F238E27FC236}">
                  <a16:creationId xmlns:a16="http://schemas.microsoft.com/office/drawing/2014/main" id="{2CF4C869-2D23-4110-A2E5-A66DE5D429B6}"/>
                </a:ext>
              </a:extLst>
            </p:cNvPr>
            <p:cNvSpPr/>
            <p:nvPr/>
          </p:nvSpPr>
          <p:spPr bwMode="auto">
            <a:xfrm>
              <a:off x="9306791" y="305831"/>
              <a:ext cx="1734551" cy="7608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74579" tIns="37290" rIns="74579" bIns="37290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457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8" name="TextBox 4">
              <a:extLst>
                <a:ext uri="{FF2B5EF4-FFF2-40B4-BE49-F238E27FC236}">
                  <a16:creationId xmlns:a16="http://schemas.microsoft.com/office/drawing/2014/main" id="{D4A62BC6-DC3A-40CD-A658-81861BC55C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560566" y="410504"/>
              <a:ext cx="1277801" cy="51517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699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1" i="0" u="none" strike="noStrike" kern="1200" cap="none" spc="-1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>
                    <a:solidFill>
                      <a:srgbClr val="FFFFFF"/>
                    </a:solidFill>
                  </a:uFill>
                  <a:latin typeface="Arial"/>
                  <a:ea typeface="Arial"/>
                  <a:cs typeface="+mn-cs"/>
                </a:rPr>
                <a:t>Gestión de Servicios Administrativos</a:t>
              </a:r>
              <a:endPara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3" name="Freeform 153">
            <a:extLst>
              <a:ext uri="{FF2B5EF4-FFF2-40B4-BE49-F238E27FC236}">
                <a16:creationId xmlns:a16="http://schemas.microsoft.com/office/drawing/2014/main" id="{B8206CA4-619D-4795-B5EE-23FCC8F74B44}"/>
              </a:ext>
            </a:extLst>
          </p:cNvPr>
          <p:cNvSpPr/>
          <p:nvPr/>
        </p:nvSpPr>
        <p:spPr bwMode="auto">
          <a:xfrm>
            <a:off x="7859907" y="1252358"/>
            <a:ext cx="2623310" cy="252737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74579" tIns="37290" rIns="74579" bIns="37290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57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Calibri" panose="020F0502020204030204" pitchFamily="34" charset="0"/>
                <a:sym typeface="+mn-lt"/>
              </a:rPr>
              <a:t>Administración de </a:t>
            </a:r>
          </a:p>
          <a:p>
            <a:pPr marL="0" marR="0" lvl="0" indent="0" algn="ctr" defTabSz="7457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Calibri" panose="020F0502020204030204" pitchFamily="34" charset="0"/>
                <a:sym typeface="+mn-lt"/>
              </a:rPr>
              <a:t>Bienes y Servicios</a:t>
            </a:r>
            <a:endParaRPr kumimoji="0" lang="es-CO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00FF00"/>
              </a:highlight>
              <a:uLnTx/>
              <a:uFillTx/>
              <a:latin typeface="Arial"/>
              <a:ea typeface="Verdana" panose="020B0604030504040204" pitchFamily="34" charset="0"/>
              <a:cs typeface="Calibri" panose="020F0502020204030204" pitchFamily="34" charset="0"/>
              <a:sym typeface="+mn-lt"/>
            </a:endParaRPr>
          </a:p>
        </p:txBody>
      </p:sp>
      <p:grpSp>
        <p:nvGrpSpPr>
          <p:cNvPr id="30" name="Group 152">
            <a:extLst>
              <a:ext uri="{FF2B5EF4-FFF2-40B4-BE49-F238E27FC236}">
                <a16:creationId xmlns:a16="http://schemas.microsoft.com/office/drawing/2014/main" id="{8AA112FD-5368-4147-ABD1-6DACF64BD574}"/>
              </a:ext>
            </a:extLst>
          </p:cNvPr>
          <p:cNvGrpSpPr/>
          <p:nvPr/>
        </p:nvGrpSpPr>
        <p:grpSpPr>
          <a:xfrm>
            <a:off x="2894441" y="2165835"/>
            <a:ext cx="7494320" cy="180453"/>
            <a:chOff x="9306791" y="305831"/>
            <a:chExt cx="1734551" cy="760866"/>
          </a:xfrm>
          <a:solidFill>
            <a:schemeClr val="tx2"/>
          </a:solidFill>
        </p:grpSpPr>
        <p:sp>
          <p:nvSpPr>
            <p:cNvPr id="35" name="Freeform 153">
              <a:extLst>
                <a:ext uri="{FF2B5EF4-FFF2-40B4-BE49-F238E27FC236}">
                  <a16:creationId xmlns:a16="http://schemas.microsoft.com/office/drawing/2014/main" id="{46CE4CAD-DF77-4E1C-B911-BFD96EE4F91D}"/>
                </a:ext>
              </a:extLst>
            </p:cNvPr>
            <p:cNvSpPr/>
            <p:nvPr/>
          </p:nvSpPr>
          <p:spPr bwMode="auto">
            <a:xfrm>
              <a:off x="9306791" y="305831"/>
              <a:ext cx="1734551" cy="7608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74579" tIns="37290" rIns="74579" bIns="37290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7457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6" name="TextBox 4">
              <a:extLst>
                <a:ext uri="{FF2B5EF4-FFF2-40B4-BE49-F238E27FC236}">
                  <a16:creationId xmlns:a16="http://schemas.microsoft.com/office/drawing/2014/main" id="{92E679E2-7B4A-4698-A5FC-7BBC8E246E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560566" y="376110"/>
              <a:ext cx="1277801" cy="58397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699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1" i="0" u="none" strike="noStrike" kern="1200" cap="none" spc="-1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>
                    <a:solidFill>
                      <a:srgbClr val="FFFFFF"/>
                    </a:solidFill>
                  </a:uFill>
                  <a:latin typeface="Arial"/>
                  <a:ea typeface="Arial"/>
                  <a:cs typeface="+mn-cs"/>
                </a:rPr>
                <a:t>Gestión de  Convenios y Acuerdos</a:t>
              </a:r>
              <a:endPara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CuadroTexto 36">
            <a:extLst>
              <a:ext uri="{FF2B5EF4-FFF2-40B4-BE49-F238E27FC236}">
                <a16:creationId xmlns:a16="http://schemas.microsoft.com/office/drawing/2014/main" id="{0411A66C-E1E9-485C-86F9-730627169200}"/>
              </a:ext>
            </a:extLst>
          </p:cNvPr>
          <p:cNvSpPr txBox="1"/>
          <p:nvPr/>
        </p:nvSpPr>
        <p:spPr>
          <a:xfrm>
            <a:off x="1481189" y="6379919"/>
            <a:ext cx="356613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7495" marR="0" lvl="0" indent="-167495" algn="l" defTabSz="893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laneación de Convenios y Acuerdos</a:t>
            </a:r>
          </a:p>
          <a:p>
            <a:pPr marL="167495" marR="0" lvl="0" indent="-167495" algn="l" defTabSz="893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uscripción de Convenios y Acuerdos</a:t>
            </a:r>
          </a:p>
          <a:p>
            <a:pPr marL="167495" marR="0" lvl="0" indent="-167495" algn="l" defTabSz="893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icio y planeación de la ejecución del convenio y acuerdo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08303FA-505E-4C53-9711-A4D600F351C1}"/>
              </a:ext>
            </a:extLst>
          </p:cNvPr>
          <p:cNvSpPr txBox="1"/>
          <p:nvPr/>
        </p:nvSpPr>
        <p:spPr>
          <a:xfrm>
            <a:off x="4867593" y="6430657"/>
            <a:ext cx="278935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893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4.   Ejecución y control del convenio y acuerdo</a:t>
            </a:r>
          </a:p>
          <a:p>
            <a:pPr marL="0" marR="0" lvl="0" indent="0" algn="just" defTabSz="893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.   Cierre de convenio y acuerdo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8" name="Título 1">
            <a:extLst>
              <a:ext uri="{FF2B5EF4-FFF2-40B4-BE49-F238E27FC236}">
                <a16:creationId xmlns:a16="http://schemas.microsoft.com/office/drawing/2014/main" id="{F58C5913-CCA0-4E48-91A9-3C716BE31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475" y="82024"/>
            <a:ext cx="11725312" cy="292388"/>
          </a:xfrm>
        </p:spPr>
        <p:txBody>
          <a:bodyPr/>
          <a:lstStyle/>
          <a:p>
            <a:r>
              <a:rPr lang="es-ES" sz="1900" b="1" dirty="0"/>
              <a:t>Macroproceso Abastecimiento </a:t>
            </a:r>
            <a:r>
              <a:rPr lang="es-419" sz="1900" b="1" dirty="0"/>
              <a:t>y Servicios Administrativos</a:t>
            </a:r>
            <a:endParaRPr lang="es-CO" sz="1900" b="1" dirty="0"/>
          </a:p>
        </p:txBody>
      </p:sp>
    </p:spTree>
    <p:extLst>
      <p:ext uri="{BB962C8B-B14F-4D97-AF65-F5344CB8AC3E}">
        <p14:creationId xmlns:p14="http://schemas.microsoft.com/office/powerpoint/2010/main" val="3848763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41&quot; g=&quot;AA&quot; b=&quot;3C&quot;/&gt;&lt;m_nBrightness endver=&quot;26206&quot; val=&quot;0&quot;/&gt;&lt;/elem&gt;&lt;elem m_fUsage=&quot;9.00000000000000022204E-01&quot;&gt;&lt;m_msothmcolidx val=&quot;0&quot;/&gt;&lt;m_rgb r=&quot;92&quot; g=&quot;D0&quot; b=&quot;5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RfLmBI1wG_Qd_hZ4M9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.3"/>
  <p:tag name="3LEVEL" val="0"/>
  <p:tag name="4LEVEL" val="0"/>
  <p:tag name="5LEVEL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heme/theme1.xml><?xml version="1.0" encoding="utf-8"?>
<a:theme xmlns:a="http://schemas.openxmlformats.org/drawingml/2006/main" name="Firm Format - Spanish">
  <a:themeElements>
    <a:clrScheme name="Custom 26">
      <a:dk1>
        <a:srgbClr val="000000"/>
      </a:dk1>
      <a:lt1>
        <a:srgbClr val="FFFFFF"/>
      </a:lt1>
      <a:dk2>
        <a:srgbClr val="234F67"/>
      </a:dk2>
      <a:lt2>
        <a:srgbClr val="FFFFFF"/>
      </a:lt2>
      <a:accent1>
        <a:srgbClr val="DCEBF4"/>
      </a:accent1>
      <a:accent2>
        <a:srgbClr val="A2CAE2"/>
      </a:accent2>
      <a:accent3>
        <a:srgbClr val="50A2A0"/>
      </a:accent3>
      <a:accent4>
        <a:srgbClr val="234F67"/>
      </a:accent4>
      <a:accent5>
        <a:srgbClr val="FF6600"/>
      </a:accent5>
      <a:accent6>
        <a:srgbClr val="808080"/>
      </a:accent6>
      <a:hlink>
        <a:srgbClr val="50A2A0"/>
      </a:hlink>
      <a:folHlink>
        <a:srgbClr val="234F6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Spanish" id="{8F8C8658-0900-4511-92F4-4F9D7035C792}" vid="{72D81AE0-FDC7-462D-BB9E-9C93A584C623}"/>
    </a:ext>
  </a:extLst>
</a:theme>
</file>

<file path=ppt/theme/theme2.xml><?xml version="1.0" encoding="utf-8"?>
<a:theme xmlns:a="http://schemas.openxmlformats.org/drawingml/2006/main" name="1_Tema de Office">
  <a:themeElements>
    <a:clrScheme name="Verde azulado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6">
    <a:dk1>
      <a:srgbClr val="000000"/>
    </a:dk1>
    <a:lt1>
      <a:srgbClr val="FFFFFF"/>
    </a:lt1>
    <a:dk2>
      <a:srgbClr val="234F67"/>
    </a:dk2>
    <a:lt2>
      <a:srgbClr val="FFFFFF"/>
    </a:lt2>
    <a:accent1>
      <a:srgbClr val="DCEBF4"/>
    </a:accent1>
    <a:accent2>
      <a:srgbClr val="A2CAE2"/>
    </a:accent2>
    <a:accent3>
      <a:srgbClr val="50A2A0"/>
    </a:accent3>
    <a:accent4>
      <a:srgbClr val="234F67"/>
    </a:accent4>
    <a:accent5>
      <a:srgbClr val="FF6600"/>
    </a:accent5>
    <a:accent6>
      <a:srgbClr val="808080"/>
    </a:accent6>
    <a:hlink>
      <a:srgbClr val="50A2A0"/>
    </a:hlink>
    <a:folHlink>
      <a:srgbClr val="234F6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2B6789A2787D140939184C96CE00B77" ma:contentTypeVersion="11" ma:contentTypeDescription="Crear nuevo documento." ma:contentTypeScope="" ma:versionID="d9aa639b939171488a8f17d6a271a3a0">
  <xsd:schema xmlns:xsd="http://www.w3.org/2001/XMLSchema" xmlns:xs="http://www.w3.org/2001/XMLSchema" xmlns:p="http://schemas.microsoft.com/office/2006/metadata/properties" xmlns:ns3="e3de68e4-5fb2-404c-a003-7e5864203514" xmlns:ns4="7078a5be-a5f9-4c83-8f70-8ace8f65d61c" targetNamespace="http://schemas.microsoft.com/office/2006/metadata/properties" ma:root="true" ma:fieldsID="f3cedf95750fe4fb47e6c2d497042bff" ns3:_="" ns4:_="">
    <xsd:import namespace="e3de68e4-5fb2-404c-a003-7e5864203514"/>
    <xsd:import namespace="7078a5be-a5f9-4c83-8f70-8ace8f65d61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de68e4-5fb2-404c-a003-7e586420351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8a5be-a5f9-4c83-8f70-8ace8f65d6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9D0DB4-20BF-4E36-9CE2-15F3FEE93ED5}">
  <ds:schemaRefs>
    <ds:schemaRef ds:uri="e3de68e4-5fb2-404c-a003-7e5864203514"/>
    <ds:schemaRef ds:uri="http://schemas.microsoft.com/office/2006/metadata/properties"/>
    <ds:schemaRef ds:uri="7078a5be-a5f9-4c83-8f70-8ace8f65d61c"/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9BF1901-5EEB-4D0F-B3DE-BB9FA83D3EAB}">
  <ds:schemaRefs>
    <ds:schemaRef ds:uri="7078a5be-a5f9-4c83-8f70-8ace8f65d61c"/>
    <ds:schemaRef ds:uri="e3de68e4-5fb2-404c-a003-7e58642035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6C3B5F4-7DAF-4A08-894E-CF678FA50C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8</TotalTime>
  <Words>2958</Words>
  <Application>Microsoft Office PowerPoint</Application>
  <PresentationFormat>Panorámica</PresentationFormat>
  <Paragraphs>388</Paragraphs>
  <Slides>27</Slides>
  <Notes>2</Notes>
  <HiddenSlides>0</HiddenSlides>
  <MMClips>2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7</vt:i4>
      </vt:variant>
    </vt:vector>
  </HeadingPairs>
  <TitlesOfParts>
    <vt:vector size="40" baseType="lpstr">
      <vt:lpstr>Arial</vt:lpstr>
      <vt:lpstr>Calibri</vt:lpstr>
      <vt:lpstr>Calibri Light</vt:lpstr>
      <vt:lpstr>Calibri light titulos</vt:lpstr>
      <vt:lpstr>Californian FB</vt:lpstr>
      <vt:lpstr>Century Gothic</vt:lpstr>
      <vt:lpstr>Courier New</vt:lpstr>
      <vt:lpstr>Lucida Grande</vt:lpstr>
      <vt:lpstr>Firm Format - Spanish</vt:lpstr>
      <vt:lpstr>1_Tema de Office</vt:lpstr>
      <vt:lpstr>3_Firm Format - template_Blue</vt:lpstr>
      <vt:lpstr>Diapositiva de think-cell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croproceso Abastecimiento y Servicios Administrativ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olina Rojas Moreno (CENIT)</dc:creator>
  <cp:lastModifiedBy>Howard Alberto Gilly Corredor (CENIT)</cp:lastModifiedBy>
  <cp:revision>2</cp:revision>
  <cp:lastPrinted>2019-11-27T12:49:41Z</cp:lastPrinted>
  <dcterms:created xsi:type="dcterms:W3CDTF">2019-11-22T13:40:53Z</dcterms:created>
  <dcterms:modified xsi:type="dcterms:W3CDTF">2021-06-23T13:2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B6789A2787D140939184C96CE00B77</vt:lpwstr>
  </property>
</Properties>
</file>